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handoutMasterIdLst>
    <p:handoutMasterId r:id="rId9"/>
  </p:handoutMasterIdLst>
  <p:sldIdLst>
    <p:sldId id="276" r:id="rId2"/>
    <p:sldId id="331" r:id="rId3"/>
    <p:sldId id="335" r:id="rId4"/>
    <p:sldId id="336" r:id="rId5"/>
    <p:sldId id="337" r:id="rId6"/>
    <p:sldId id="338" r:id="rId7"/>
  </p:sldIdLst>
  <p:sldSz cx="9906000" cy="6858000" type="A4"/>
  <p:notesSz cx="6858000" cy="9144000"/>
  <p:defaultTextStyle>
    <a:defPPr>
      <a:defRPr lang="es-CO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0066"/>
    <a:srgbClr val="082754"/>
    <a:srgbClr val="0A4D7A"/>
    <a:srgbClr val="094677"/>
    <a:srgbClr val="A50021"/>
    <a:srgbClr val="800000"/>
    <a:srgbClr val="996633"/>
    <a:srgbClr val="09466D"/>
    <a:srgbClr val="E36B1A"/>
    <a:srgbClr val="33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FECB4D8-DB02-4DC6-A0A2-4F2EBAE1DC90}" styleName="Estilo medio 1 - Énfasis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3" autoAdjust="0"/>
    <p:restoredTop sz="96168" autoAdjust="0"/>
  </p:normalViewPr>
  <p:slideViewPr>
    <p:cSldViewPr>
      <p:cViewPr varScale="1">
        <p:scale>
          <a:sx n="98" d="100"/>
          <a:sy n="98" d="100"/>
        </p:scale>
        <p:origin x="108" y="312"/>
      </p:cViewPr>
      <p:guideLst>
        <p:guide orient="horz" pos="2160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2" d="100"/>
          <a:sy n="82" d="100"/>
        </p:scale>
        <p:origin x="-2064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#1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7703463-EBB6-4120-A3CE-D3499D14200A}" type="doc">
      <dgm:prSet loTypeId="urn:microsoft.com/office/officeart/2005/8/layout/vList3#1" loCatId="list" qsTypeId="urn:microsoft.com/office/officeart/2005/8/quickstyle/simple1#1" qsCatId="simple" csTypeId="urn:microsoft.com/office/officeart/2005/8/colors/accent1_2#1" csCatId="accent1" phldr="1"/>
      <dgm:spPr/>
      <dgm:t>
        <a:bodyPr/>
        <a:lstStyle/>
        <a:p>
          <a:endParaRPr lang="es-CO"/>
        </a:p>
      </dgm:t>
    </dgm:pt>
    <dgm:pt modelId="{E5BBC2CD-95AE-4AFE-922A-739A2F523AEA}">
      <dgm:prSet phldrT="[Texto]" custT="1"/>
      <dgm:spPr>
        <a:xfrm rot="10800000">
          <a:off x="1754960" y="0"/>
          <a:ext cx="6029380" cy="1362954"/>
        </a:xfrm>
        <a:prstGeom prst="homePlate">
          <a:avLst/>
        </a:prstGeom>
        <a:solidFill>
          <a:srgbClr val="8064A2">
            <a:lumMod val="20000"/>
            <a:lumOff val="8000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l"/>
          <a:r>
            <a:rPr lang="es-CO" sz="1400" dirty="0" smtClean="0">
              <a:solidFill>
                <a:sysClr val="windowText" lastClr="000000"/>
              </a:solidFill>
              <a:latin typeface="Futura Lt"/>
              <a:ea typeface="+mn-ea"/>
              <a:cs typeface="+mn-cs"/>
            </a:rPr>
            <a:t>- </a:t>
          </a:r>
          <a:r>
            <a:rPr lang="es-CO" sz="1400" dirty="0" smtClean="0">
              <a:solidFill>
                <a:sysClr val="windowText" lastClr="000000"/>
              </a:solidFill>
              <a:latin typeface="Futura Lt"/>
              <a:ea typeface="+mn-ea"/>
              <a:cs typeface="+mn-cs"/>
            </a:rPr>
            <a:t>Se esta adecuando el Modelo a lo establecido en el Decreto</a:t>
          </a:r>
        </a:p>
        <a:p>
          <a:pPr algn="l"/>
          <a:r>
            <a:rPr lang="es-CO" sz="1400" dirty="0" smtClean="0">
              <a:solidFill>
                <a:sysClr val="windowText" lastClr="000000"/>
              </a:solidFill>
              <a:latin typeface="Futura Lt"/>
              <a:ea typeface="+mn-ea"/>
              <a:cs typeface="+mn-cs"/>
            </a:rPr>
            <a:t>   943/14</a:t>
          </a:r>
        </a:p>
        <a:p>
          <a:pPr algn="l"/>
          <a:r>
            <a:rPr lang="es-CO" sz="1400" dirty="0" smtClean="0">
              <a:solidFill>
                <a:sysClr val="windowText" lastClr="000000"/>
              </a:solidFill>
              <a:latin typeface="Futura Lt"/>
              <a:ea typeface="+mn-ea"/>
              <a:cs typeface="+mn-cs"/>
            </a:rPr>
            <a:t>- Implementado </a:t>
          </a:r>
          <a:r>
            <a:rPr lang="es-CO" sz="1400" dirty="0" smtClean="0">
              <a:solidFill>
                <a:sysClr val="windowText" lastClr="000000"/>
              </a:solidFill>
              <a:latin typeface="Futura Lt"/>
              <a:ea typeface="+mn-ea"/>
              <a:cs typeface="+mn-cs"/>
            </a:rPr>
            <a:t>en un </a:t>
          </a:r>
          <a:r>
            <a:rPr lang="es-CO" sz="1400" dirty="0" smtClean="0">
              <a:solidFill>
                <a:sysClr val="windowText" lastClr="000000"/>
              </a:solidFill>
              <a:latin typeface="Futura Lt"/>
              <a:ea typeface="+mn-ea"/>
              <a:cs typeface="+mn-cs"/>
            </a:rPr>
            <a:t>70%</a:t>
          </a:r>
          <a:endParaRPr lang="es-CO" sz="1400" dirty="0" smtClean="0">
            <a:solidFill>
              <a:sysClr val="windowText" lastClr="000000"/>
            </a:solidFill>
            <a:latin typeface="Futura Lt"/>
            <a:ea typeface="+mn-ea"/>
            <a:cs typeface="+mn-cs"/>
          </a:endParaRPr>
        </a:p>
        <a:p>
          <a:pPr algn="l"/>
          <a:r>
            <a:rPr lang="es-CO" sz="1400" dirty="0" smtClean="0">
              <a:solidFill>
                <a:sysClr val="windowText" lastClr="000000"/>
              </a:solidFill>
              <a:latin typeface="Futura Lt"/>
              <a:ea typeface="+mn-ea"/>
              <a:cs typeface="+mn-cs"/>
            </a:rPr>
            <a:t>- Plan de Mejoramiento por Procesos en ejecución</a:t>
          </a:r>
        </a:p>
        <a:p>
          <a:pPr algn="l"/>
          <a:r>
            <a:rPr lang="es-CO" sz="1400" dirty="0" smtClean="0">
              <a:solidFill>
                <a:sysClr val="windowText" lastClr="000000"/>
              </a:solidFill>
              <a:latin typeface="Futura Lt"/>
              <a:ea typeface="+mn-ea"/>
              <a:cs typeface="+mn-cs"/>
            </a:rPr>
            <a:t>- Auditorías y seguimiento periódico</a:t>
          </a:r>
          <a:endParaRPr lang="es-CO" sz="1400" dirty="0">
            <a:solidFill>
              <a:sysClr val="windowText" lastClr="000000"/>
            </a:solidFill>
            <a:latin typeface="Futura Lt"/>
            <a:ea typeface="+mn-ea"/>
            <a:cs typeface="+mn-cs"/>
          </a:endParaRPr>
        </a:p>
      </dgm:t>
    </dgm:pt>
    <dgm:pt modelId="{F4286C01-F71F-49A3-B532-314A145EDBE2}" type="parTrans" cxnId="{C59C80CB-1CDD-45FB-BB31-3520CEBD3E7B}">
      <dgm:prSet/>
      <dgm:spPr/>
      <dgm:t>
        <a:bodyPr/>
        <a:lstStyle/>
        <a:p>
          <a:pPr algn="l"/>
          <a:endParaRPr lang="es-CO" sz="1050"/>
        </a:p>
      </dgm:t>
    </dgm:pt>
    <dgm:pt modelId="{659328F4-8C12-47A5-8D4F-D4A5D856546D}" type="sibTrans" cxnId="{C59C80CB-1CDD-45FB-BB31-3520CEBD3E7B}">
      <dgm:prSet/>
      <dgm:spPr/>
      <dgm:t>
        <a:bodyPr/>
        <a:lstStyle/>
        <a:p>
          <a:pPr algn="l"/>
          <a:endParaRPr lang="es-CO" sz="1050"/>
        </a:p>
      </dgm:t>
    </dgm:pt>
    <dgm:pt modelId="{122AFD09-2F35-404C-B854-6310806E3CD6}">
      <dgm:prSet phldrT="[Texto]" custT="1"/>
      <dgm:spPr>
        <a:xfrm rot="10800000">
          <a:off x="1748943" y="1708220"/>
          <a:ext cx="6029380" cy="1362954"/>
        </a:xfrm>
        <a:prstGeom prst="homePlate">
          <a:avLst/>
        </a:prstGeom>
        <a:solidFill>
          <a:srgbClr val="8064A2">
            <a:lumMod val="20000"/>
            <a:lumOff val="8000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l"/>
          <a:r>
            <a:rPr lang="es-CO" sz="1400" dirty="0" smtClean="0">
              <a:solidFill>
                <a:sysClr val="windowText" lastClr="000000"/>
              </a:solidFill>
              <a:latin typeface="Futura Lt"/>
              <a:ea typeface="+mn-ea"/>
              <a:cs typeface="+mn-cs"/>
            </a:rPr>
            <a:t>- </a:t>
          </a:r>
          <a:r>
            <a:rPr lang="es-CO" sz="1400" dirty="0" smtClean="0">
              <a:solidFill>
                <a:sysClr val="windowText" lastClr="000000"/>
              </a:solidFill>
              <a:latin typeface="Futura Lt"/>
              <a:ea typeface="+mn-ea"/>
              <a:cs typeface="+mn-cs"/>
            </a:rPr>
            <a:t>Cumplimiento Plan Estratégico 67,32%</a:t>
          </a:r>
        </a:p>
        <a:p>
          <a:pPr algn="l"/>
          <a:r>
            <a:rPr lang="es-CO" sz="1400" dirty="0" smtClean="0">
              <a:solidFill>
                <a:sysClr val="windowText" lastClr="000000"/>
              </a:solidFill>
              <a:latin typeface="Futura Lt"/>
              <a:ea typeface="+mn-ea"/>
              <a:cs typeface="+mn-cs"/>
            </a:rPr>
            <a:t>- Revisión </a:t>
          </a:r>
          <a:r>
            <a:rPr lang="es-CO" sz="1400" dirty="0" smtClean="0">
              <a:solidFill>
                <a:sysClr val="windowText" lastClr="000000"/>
              </a:solidFill>
              <a:latin typeface="Futura Lt"/>
              <a:ea typeface="+mn-ea"/>
              <a:cs typeface="+mn-cs"/>
            </a:rPr>
            <a:t>y ajuste de la documentación del Sistema</a:t>
          </a:r>
        </a:p>
        <a:p>
          <a:pPr algn="l"/>
          <a:r>
            <a:rPr lang="es-CO" sz="1400" dirty="0" smtClean="0">
              <a:solidFill>
                <a:sysClr val="windowText" lastClr="000000"/>
              </a:solidFill>
              <a:latin typeface="Futura Lt"/>
              <a:ea typeface="+mn-ea"/>
              <a:cs typeface="+mn-cs"/>
            </a:rPr>
            <a:t>- Actualización de los Procesos y Procedimientos</a:t>
          </a:r>
        </a:p>
        <a:p>
          <a:pPr algn="l"/>
          <a:endParaRPr lang="es-CO" sz="1400" dirty="0" smtClean="0">
            <a:solidFill>
              <a:sysClr val="windowText" lastClr="000000"/>
            </a:solidFill>
            <a:latin typeface="Futura Lt"/>
            <a:ea typeface="+mn-ea"/>
            <a:cs typeface="+mn-cs"/>
          </a:endParaRPr>
        </a:p>
      </dgm:t>
    </dgm:pt>
    <dgm:pt modelId="{CBB2E669-D514-4B76-AB6F-852F43B7B039}" type="sibTrans" cxnId="{588F08DE-FC1F-4297-A1EA-29F854665EA8}">
      <dgm:prSet/>
      <dgm:spPr/>
      <dgm:t>
        <a:bodyPr/>
        <a:lstStyle/>
        <a:p>
          <a:pPr algn="l"/>
          <a:endParaRPr lang="es-CO" sz="1050"/>
        </a:p>
      </dgm:t>
    </dgm:pt>
    <dgm:pt modelId="{222EF5A6-480E-4C60-8ECD-127DDCCC5BD4}" type="parTrans" cxnId="{588F08DE-FC1F-4297-A1EA-29F854665EA8}">
      <dgm:prSet/>
      <dgm:spPr/>
      <dgm:t>
        <a:bodyPr/>
        <a:lstStyle/>
        <a:p>
          <a:pPr algn="l"/>
          <a:endParaRPr lang="es-CO" sz="1050"/>
        </a:p>
      </dgm:t>
    </dgm:pt>
    <dgm:pt modelId="{768014BC-E994-4ED0-B790-463072302773}" type="pres">
      <dgm:prSet presAssocID="{A7703463-EBB6-4120-A3CE-D3499D14200A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7C365D25-5139-49FB-B211-BB9EE1D04716}" type="pres">
      <dgm:prSet presAssocID="{E5BBC2CD-95AE-4AFE-922A-739A2F523AEA}" presName="composite" presStyleCnt="0"/>
      <dgm:spPr/>
    </dgm:pt>
    <dgm:pt modelId="{EA54EBF8-A3F4-4AA0-A208-391F0B09362E}" type="pres">
      <dgm:prSet presAssocID="{E5BBC2CD-95AE-4AFE-922A-739A2F523AEA}" presName="imgShp" presStyleLbl="fgImgPlace1" presStyleIdx="0" presStyleCnt="2" custScaleX="69344" custScaleY="71923"/>
      <dgm:spPr>
        <a:xfrm>
          <a:off x="1282396" y="191997"/>
          <a:ext cx="945127" cy="980277"/>
        </a:xfrm>
        <a:prstGeom prst="ellipse">
          <a:avLst/>
        </a:prstGeom>
        <a:gradFill rotWithShape="0">
          <a:gsLst>
            <a:gs pos="0">
              <a:srgbClr val="4F81BD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rgbClr>
            </a:gs>
            <a:gs pos="100000">
              <a:srgbClr val="4F81BD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endParaRPr lang="es-CO"/>
        </a:p>
      </dgm:t>
      <dgm:extLst/>
    </dgm:pt>
    <dgm:pt modelId="{5D1E2AD0-EC80-4295-823F-3E30B6C3EE06}" type="pres">
      <dgm:prSet presAssocID="{E5BBC2CD-95AE-4AFE-922A-739A2F523AEA}" presName="txShp" presStyleLbl="node1" presStyleIdx="0" presStyleCnt="2" custLinFactNeighborY="-251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79E6397B-1CBE-4E8C-ADEC-76058AD2555F}" type="pres">
      <dgm:prSet presAssocID="{659328F4-8C12-47A5-8D4F-D4A5D856546D}" presName="spacing" presStyleCnt="0"/>
      <dgm:spPr/>
    </dgm:pt>
    <dgm:pt modelId="{B3CD368E-0086-4072-B53D-784CDEA081E4}" type="pres">
      <dgm:prSet presAssocID="{122AFD09-2F35-404C-B854-6310806E3CD6}" presName="composite" presStyleCnt="0"/>
      <dgm:spPr/>
    </dgm:pt>
    <dgm:pt modelId="{05C32D58-1892-46C6-8A21-6FE546405BE6}" type="pres">
      <dgm:prSet presAssocID="{122AFD09-2F35-404C-B854-6310806E3CD6}" presName="imgShp" presStyleLbl="fgImgPlace1" presStyleIdx="1" presStyleCnt="2" custScaleX="67578" custScaleY="68736"/>
      <dgm:spPr>
        <a:xfrm>
          <a:off x="1288414" y="1921277"/>
          <a:ext cx="921057" cy="936840"/>
        </a:xfrm>
        <a:prstGeom prst="ellipse">
          <a:avLst/>
        </a:prstGeom>
        <a:gradFill rotWithShape="0">
          <a:gsLst>
            <a:gs pos="0">
              <a:srgbClr val="4F81BD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rgbClr>
            </a:gs>
            <a:gs pos="100000">
              <a:srgbClr val="4F81BD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 w="25400" cap="flat" cmpd="sng" algn="ctr">
          <a:noFill/>
          <a:prstDash val="solid"/>
        </a:ln>
        <a:effectLst/>
      </dgm:spPr>
      <dgm:t>
        <a:bodyPr/>
        <a:lstStyle/>
        <a:p>
          <a:endParaRPr lang="es-CO"/>
        </a:p>
      </dgm:t>
    </dgm:pt>
    <dgm:pt modelId="{D3B46947-F1BF-41E6-BD91-90881C02AD28}" type="pres">
      <dgm:prSet presAssocID="{122AFD09-2F35-404C-B854-6310806E3CD6}" presName="txShp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588F08DE-FC1F-4297-A1EA-29F854665EA8}" srcId="{A7703463-EBB6-4120-A3CE-D3499D14200A}" destId="{122AFD09-2F35-404C-B854-6310806E3CD6}" srcOrd="1" destOrd="0" parTransId="{222EF5A6-480E-4C60-8ECD-127DDCCC5BD4}" sibTransId="{CBB2E669-D514-4B76-AB6F-852F43B7B039}"/>
    <dgm:cxn modelId="{C59C80CB-1CDD-45FB-BB31-3520CEBD3E7B}" srcId="{A7703463-EBB6-4120-A3CE-D3499D14200A}" destId="{E5BBC2CD-95AE-4AFE-922A-739A2F523AEA}" srcOrd="0" destOrd="0" parTransId="{F4286C01-F71F-49A3-B532-314A145EDBE2}" sibTransId="{659328F4-8C12-47A5-8D4F-D4A5D856546D}"/>
    <dgm:cxn modelId="{4CA9F002-CB11-420B-B492-328B8B8D3567}" type="presOf" srcId="{A7703463-EBB6-4120-A3CE-D3499D14200A}" destId="{768014BC-E994-4ED0-B790-463072302773}" srcOrd="0" destOrd="0" presId="urn:microsoft.com/office/officeart/2005/8/layout/vList3#1"/>
    <dgm:cxn modelId="{371018B6-3ADD-4BE3-88DE-090DBF036C80}" type="presOf" srcId="{122AFD09-2F35-404C-B854-6310806E3CD6}" destId="{D3B46947-F1BF-41E6-BD91-90881C02AD28}" srcOrd="0" destOrd="0" presId="urn:microsoft.com/office/officeart/2005/8/layout/vList3#1"/>
    <dgm:cxn modelId="{17EB5B40-6F8D-4E00-A745-DA27C972AA60}" type="presOf" srcId="{E5BBC2CD-95AE-4AFE-922A-739A2F523AEA}" destId="{5D1E2AD0-EC80-4295-823F-3E30B6C3EE06}" srcOrd="0" destOrd="0" presId="urn:microsoft.com/office/officeart/2005/8/layout/vList3#1"/>
    <dgm:cxn modelId="{A43B1F57-2B32-4D98-9BB3-DAB535EC52C6}" type="presParOf" srcId="{768014BC-E994-4ED0-B790-463072302773}" destId="{7C365D25-5139-49FB-B211-BB9EE1D04716}" srcOrd="0" destOrd="0" presId="urn:microsoft.com/office/officeart/2005/8/layout/vList3#1"/>
    <dgm:cxn modelId="{35542990-1036-4492-81A8-03FD04712281}" type="presParOf" srcId="{7C365D25-5139-49FB-B211-BB9EE1D04716}" destId="{EA54EBF8-A3F4-4AA0-A208-391F0B09362E}" srcOrd="0" destOrd="0" presId="urn:microsoft.com/office/officeart/2005/8/layout/vList3#1"/>
    <dgm:cxn modelId="{E92510A1-2DA6-4059-A6B2-5D8CFF5E5BFA}" type="presParOf" srcId="{7C365D25-5139-49FB-B211-BB9EE1D04716}" destId="{5D1E2AD0-EC80-4295-823F-3E30B6C3EE06}" srcOrd="1" destOrd="0" presId="urn:microsoft.com/office/officeart/2005/8/layout/vList3#1"/>
    <dgm:cxn modelId="{9D02141E-9B4D-42D3-BBCD-84F6AFFB2E29}" type="presParOf" srcId="{768014BC-E994-4ED0-B790-463072302773}" destId="{79E6397B-1CBE-4E8C-ADEC-76058AD2555F}" srcOrd="1" destOrd="0" presId="urn:microsoft.com/office/officeart/2005/8/layout/vList3#1"/>
    <dgm:cxn modelId="{BE07E382-B48C-42EF-9BCE-46F3357A1411}" type="presParOf" srcId="{768014BC-E994-4ED0-B790-463072302773}" destId="{B3CD368E-0086-4072-B53D-784CDEA081E4}" srcOrd="2" destOrd="0" presId="urn:microsoft.com/office/officeart/2005/8/layout/vList3#1"/>
    <dgm:cxn modelId="{F1A74FBA-9A36-44E6-9D31-1E478CAE34C2}" type="presParOf" srcId="{B3CD368E-0086-4072-B53D-784CDEA081E4}" destId="{05C32D58-1892-46C6-8A21-6FE546405BE6}" srcOrd="0" destOrd="0" presId="urn:microsoft.com/office/officeart/2005/8/layout/vList3#1"/>
    <dgm:cxn modelId="{334259E0-27C5-4E24-9C27-E239D647100F}" type="presParOf" srcId="{B3CD368E-0086-4072-B53D-784CDEA081E4}" destId="{D3B46947-F1BF-41E6-BD91-90881C02AD28}" srcOrd="1" destOrd="0" presId="urn:microsoft.com/office/officeart/2005/8/layout/vList3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09E56E7-0EFD-4F61-8231-397880964C3F}" type="doc">
      <dgm:prSet loTypeId="urn:microsoft.com/office/officeart/2005/8/layout/hList9" loCatId="list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es-CO"/>
        </a:p>
      </dgm:t>
    </dgm:pt>
    <dgm:pt modelId="{46108268-0EEE-4DBE-8E42-0F6C16845FD3}">
      <dgm:prSet phldrT="[Texto]" custT="1"/>
      <dgm:spPr>
        <a:xfrm>
          <a:off x="1228" y="304515"/>
          <a:ext cx="1309450" cy="1309450"/>
        </a:xfrm>
        <a:prstGeom prst="ellipse">
          <a:avLst/>
        </a:prstGeom>
        <a:gradFill rotWithShape="0">
          <a:gsLst>
            <a:gs pos="0">
              <a:srgbClr val="4F81BD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rgbClr>
            </a:gs>
            <a:gs pos="100000">
              <a:srgbClr val="4F81BD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s-CO" sz="2600" dirty="0" smtClean="0">
              <a:solidFill>
                <a:sysClr val="window" lastClr="FFFFFF"/>
              </a:solidFill>
              <a:latin typeface="Futura Lt"/>
              <a:ea typeface="+mn-ea"/>
              <a:cs typeface="+mn-cs"/>
            </a:rPr>
            <a:t>Dic. </a:t>
          </a:r>
          <a:r>
            <a:rPr lang="es-CO" sz="2600" dirty="0" smtClean="0">
              <a:solidFill>
                <a:sysClr val="window" lastClr="FFFFFF"/>
              </a:solidFill>
              <a:latin typeface="Futura Lt"/>
              <a:ea typeface="+mn-ea"/>
              <a:cs typeface="+mn-cs"/>
            </a:rPr>
            <a:t>2013</a:t>
          </a:r>
          <a:endParaRPr lang="es-CO" sz="2600" dirty="0">
            <a:solidFill>
              <a:sysClr val="window" lastClr="FFFFFF"/>
            </a:solidFill>
            <a:latin typeface="Futura Lt"/>
            <a:ea typeface="+mn-ea"/>
            <a:cs typeface="+mn-cs"/>
          </a:endParaRPr>
        </a:p>
      </dgm:t>
    </dgm:pt>
    <dgm:pt modelId="{6EBE2893-93FB-4A07-8E33-EF1A2CA1FA69}" type="parTrans" cxnId="{5835000C-340F-4B10-92D4-BF7972CFA120}">
      <dgm:prSet/>
      <dgm:spPr/>
      <dgm:t>
        <a:bodyPr/>
        <a:lstStyle/>
        <a:p>
          <a:endParaRPr lang="es-CO"/>
        </a:p>
      </dgm:t>
    </dgm:pt>
    <dgm:pt modelId="{B3435F05-127D-421A-B811-A49DA7228469}" type="sibTrans" cxnId="{5835000C-340F-4B10-92D4-BF7972CFA120}">
      <dgm:prSet/>
      <dgm:spPr/>
      <dgm:t>
        <a:bodyPr/>
        <a:lstStyle/>
        <a:p>
          <a:endParaRPr lang="es-CO"/>
        </a:p>
      </dgm:t>
    </dgm:pt>
    <dgm:pt modelId="{F552EBF8-4FA2-425C-B0E1-E91E6830E7C7}">
      <dgm:prSet phldrT="[Texto]" custT="1"/>
      <dgm:spPr>
        <a:xfrm>
          <a:off x="1048788" y="828296"/>
          <a:ext cx="1964176" cy="1310105"/>
        </a:xfrm>
        <a:prstGeom prst="rect">
          <a:avLst/>
        </a:prstGeom>
        <a:solidFill>
          <a:srgbClr val="8064A2">
            <a:lumMod val="20000"/>
            <a:lumOff val="80000"/>
          </a:srgbClr>
        </a:solidFill>
        <a:ln w="25400" cap="flat" cmpd="sng" algn="ctr">
          <a:solidFill>
            <a:srgbClr val="9BBB59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s-CO" sz="19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Futura Lt"/>
              <a:ea typeface="+mn-ea"/>
              <a:cs typeface="+mn-cs"/>
            </a:rPr>
            <a:t>Número de Hallazgos: </a:t>
          </a:r>
          <a:r>
            <a:rPr lang="es-CO" sz="19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Futura Lt"/>
              <a:ea typeface="+mn-ea"/>
              <a:cs typeface="+mn-cs"/>
            </a:rPr>
            <a:t>399</a:t>
          </a:r>
          <a:endParaRPr lang="es-CO" sz="19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Futura Lt"/>
            <a:ea typeface="+mn-ea"/>
            <a:cs typeface="+mn-cs"/>
          </a:endParaRPr>
        </a:p>
      </dgm:t>
    </dgm:pt>
    <dgm:pt modelId="{BB6D814A-6336-453E-9817-D52B549C206C}" type="parTrans" cxnId="{0064D914-60CB-4B55-B366-E48B9D47B287}">
      <dgm:prSet/>
      <dgm:spPr/>
      <dgm:t>
        <a:bodyPr/>
        <a:lstStyle/>
        <a:p>
          <a:endParaRPr lang="es-CO"/>
        </a:p>
      </dgm:t>
    </dgm:pt>
    <dgm:pt modelId="{B35555E2-8A96-4E35-BE5B-5CCBECED7D44}" type="sibTrans" cxnId="{0064D914-60CB-4B55-B366-E48B9D47B287}">
      <dgm:prSet/>
      <dgm:spPr/>
      <dgm:t>
        <a:bodyPr/>
        <a:lstStyle/>
        <a:p>
          <a:endParaRPr lang="es-CO"/>
        </a:p>
      </dgm:t>
    </dgm:pt>
    <dgm:pt modelId="{F69B5C65-8209-40D3-9FE4-3F7D283B64BD}">
      <dgm:prSet phldrT="[Texto]" custT="1"/>
      <dgm:spPr>
        <a:xfrm>
          <a:off x="1048788" y="2138401"/>
          <a:ext cx="1964176" cy="1310105"/>
        </a:xfrm>
        <a:prstGeom prst="rect">
          <a:avLst/>
        </a:prstGeom>
        <a:solidFill>
          <a:srgbClr val="8064A2">
            <a:lumMod val="20000"/>
            <a:lumOff val="80000"/>
          </a:srgbClr>
        </a:solidFill>
        <a:ln w="25400" cap="flat" cmpd="sng" algn="ctr">
          <a:solidFill>
            <a:srgbClr val="9BBB59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s-CO" sz="19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Futura Lt"/>
              <a:ea typeface="+mn-ea"/>
              <a:cs typeface="+mn-cs"/>
            </a:rPr>
            <a:t>Avance cumplimiento </a:t>
          </a:r>
          <a:r>
            <a:rPr lang="es-CO" sz="19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Futura Lt"/>
              <a:ea typeface="+mn-ea"/>
              <a:cs typeface="+mn-cs"/>
            </a:rPr>
            <a:t>81,16%</a:t>
          </a:r>
          <a:endParaRPr lang="es-CO" sz="19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Futura Lt"/>
            <a:ea typeface="+mn-ea"/>
            <a:cs typeface="+mn-cs"/>
          </a:endParaRPr>
        </a:p>
      </dgm:t>
    </dgm:pt>
    <dgm:pt modelId="{625E534D-3FFD-48BF-82AE-D0C226962EF7}" type="parTrans" cxnId="{35F1852C-C02A-42C2-8946-19357D94CB27}">
      <dgm:prSet/>
      <dgm:spPr/>
      <dgm:t>
        <a:bodyPr/>
        <a:lstStyle/>
        <a:p>
          <a:endParaRPr lang="es-CO"/>
        </a:p>
      </dgm:t>
    </dgm:pt>
    <dgm:pt modelId="{75C6D8FD-1AD6-4FF4-A149-F65F011E6042}" type="sibTrans" cxnId="{35F1852C-C02A-42C2-8946-19357D94CB27}">
      <dgm:prSet/>
      <dgm:spPr/>
      <dgm:t>
        <a:bodyPr/>
        <a:lstStyle/>
        <a:p>
          <a:endParaRPr lang="es-CO"/>
        </a:p>
      </dgm:t>
    </dgm:pt>
    <dgm:pt modelId="{5DD84150-3CF4-4F6F-ADAC-C5B3C8C10DEB}">
      <dgm:prSet phldrT="[Texto]" custT="1"/>
      <dgm:spPr>
        <a:xfrm>
          <a:off x="3274855" y="304515"/>
          <a:ext cx="1309450" cy="1309450"/>
        </a:xfrm>
        <a:prstGeom prst="ellipse">
          <a:avLst/>
        </a:prstGeom>
        <a:gradFill rotWithShape="0">
          <a:gsLst>
            <a:gs pos="0">
              <a:srgbClr val="4F81BD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rgbClr>
            </a:gs>
            <a:gs pos="100000">
              <a:srgbClr val="4F81BD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r>
            <a:rPr lang="es-CO" sz="2600" dirty="0" smtClean="0">
              <a:solidFill>
                <a:sysClr val="window" lastClr="FFFFFF"/>
              </a:solidFill>
              <a:latin typeface="Futura Lt"/>
              <a:ea typeface="+mn-ea"/>
              <a:cs typeface="+mn-cs"/>
            </a:rPr>
            <a:t>Sept.</a:t>
          </a:r>
          <a:endParaRPr lang="es-CO" sz="2600" dirty="0" smtClean="0">
            <a:solidFill>
              <a:sysClr val="window" lastClr="FFFFFF"/>
            </a:solidFill>
            <a:latin typeface="Futura Lt"/>
            <a:ea typeface="+mn-ea"/>
            <a:cs typeface="+mn-cs"/>
          </a:endParaRPr>
        </a:p>
        <a:p>
          <a:r>
            <a:rPr lang="es-CO" sz="2600" dirty="0" smtClean="0">
              <a:solidFill>
                <a:sysClr val="window" lastClr="FFFFFF"/>
              </a:solidFill>
              <a:latin typeface="Futura Lt"/>
              <a:ea typeface="+mn-ea"/>
              <a:cs typeface="+mn-cs"/>
            </a:rPr>
            <a:t>2014</a:t>
          </a:r>
          <a:endParaRPr lang="es-CO" sz="2600" dirty="0">
            <a:solidFill>
              <a:sysClr val="window" lastClr="FFFFFF"/>
            </a:solidFill>
            <a:latin typeface="Futura Lt"/>
            <a:ea typeface="+mn-ea"/>
            <a:cs typeface="+mn-cs"/>
          </a:endParaRPr>
        </a:p>
      </dgm:t>
    </dgm:pt>
    <dgm:pt modelId="{99964DA9-9AA5-4C7D-B104-9DBF5E44B726}" type="parTrans" cxnId="{47FE66D6-85A0-4AB4-A562-912EF0F54859}">
      <dgm:prSet/>
      <dgm:spPr/>
      <dgm:t>
        <a:bodyPr/>
        <a:lstStyle/>
        <a:p>
          <a:endParaRPr lang="es-CO"/>
        </a:p>
      </dgm:t>
    </dgm:pt>
    <dgm:pt modelId="{0CEC1DA2-6BFC-4500-BE74-069929AC2A72}" type="sibTrans" cxnId="{47FE66D6-85A0-4AB4-A562-912EF0F54859}">
      <dgm:prSet/>
      <dgm:spPr/>
      <dgm:t>
        <a:bodyPr/>
        <a:lstStyle/>
        <a:p>
          <a:endParaRPr lang="es-CO"/>
        </a:p>
      </dgm:t>
    </dgm:pt>
    <dgm:pt modelId="{9A2746A4-E2F5-4ED2-A6C6-444D84E13CC4}">
      <dgm:prSet phldrT="[Texto]" custT="1"/>
      <dgm:spPr>
        <a:xfrm>
          <a:off x="4322415" y="828296"/>
          <a:ext cx="1964176" cy="1310105"/>
        </a:xfrm>
        <a:prstGeom prst="rect">
          <a:avLst/>
        </a:prstGeom>
        <a:solidFill>
          <a:srgbClr val="8064A2">
            <a:lumMod val="20000"/>
            <a:lumOff val="80000"/>
          </a:srgbClr>
        </a:solidFill>
        <a:ln w="25400" cap="flat" cmpd="sng" algn="ctr">
          <a:solidFill>
            <a:srgbClr val="9BBB59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s-CO" sz="19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Futura Lt"/>
              <a:ea typeface="+mn-ea"/>
              <a:cs typeface="+mn-cs"/>
            </a:rPr>
            <a:t>Número de Hallazgos:  </a:t>
          </a:r>
          <a:r>
            <a:rPr lang="es-CO" sz="19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Futura Lt"/>
              <a:ea typeface="+mn-ea"/>
              <a:cs typeface="+mn-cs"/>
            </a:rPr>
            <a:t>434</a:t>
          </a:r>
          <a:endParaRPr lang="es-CO" sz="19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Futura Lt"/>
            <a:ea typeface="+mn-ea"/>
            <a:cs typeface="+mn-cs"/>
          </a:endParaRPr>
        </a:p>
      </dgm:t>
    </dgm:pt>
    <dgm:pt modelId="{ADE774F9-410A-4E42-84C8-535E7AABBA75}" type="parTrans" cxnId="{FBFE4AF8-65E5-4BDB-8881-65F73F36FBCB}">
      <dgm:prSet/>
      <dgm:spPr/>
      <dgm:t>
        <a:bodyPr/>
        <a:lstStyle/>
        <a:p>
          <a:endParaRPr lang="es-CO"/>
        </a:p>
      </dgm:t>
    </dgm:pt>
    <dgm:pt modelId="{9E1365DF-10D2-4430-A53F-EF995E56EC30}" type="sibTrans" cxnId="{FBFE4AF8-65E5-4BDB-8881-65F73F36FBCB}">
      <dgm:prSet/>
      <dgm:spPr/>
      <dgm:t>
        <a:bodyPr/>
        <a:lstStyle/>
        <a:p>
          <a:endParaRPr lang="es-CO"/>
        </a:p>
      </dgm:t>
    </dgm:pt>
    <dgm:pt modelId="{78D55F1B-3D00-4BEA-A7C3-46318C89009B}">
      <dgm:prSet phldrT="[Texto]" custT="1"/>
      <dgm:spPr>
        <a:xfrm>
          <a:off x="4322415" y="2138401"/>
          <a:ext cx="1964176" cy="1310105"/>
        </a:xfrm>
        <a:prstGeom prst="rect">
          <a:avLst/>
        </a:prstGeom>
        <a:solidFill>
          <a:srgbClr val="8064A2">
            <a:lumMod val="20000"/>
            <a:lumOff val="80000"/>
          </a:srgbClr>
        </a:solidFill>
        <a:ln w="25400" cap="flat" cmpd="sng" algn="ctr">
          <a:solidFill>
            <a:srgbClr val="9BBB59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r>
            <a:rPr lang="es-CO" sz="19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Futura Lt"/>
              <a:ea typeface="+mn-ea"/>
              <a:cs typeface="+mn-cs"/>
            </a:rPr>
            <a:t>Avance cumplimiento </a:t>
          </a:r>
          <a:r>
            <a:rPr lang="es-CO" sz="19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Futura Lt"/>
              <a:ea typeface="+mn-ea"/>
              <a:cs typeface="+mn-cs"/>
            </a:rPr>
            <a:t>82.21%</a:t>
          </a:r>
          <a:endParaRPr lang="es-CO" sz="19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Futura Lt"/>
            <a:ea typeface="+mn-ea"/>
            <a:cs typeface="+mn-cs"/>
          </a:endParaRPr>
        </a:p>
      </dgm:t>
    </dgm:pt>
    <dgm:pt modelId="{0B201DC2-69A5-4E33-97D6-7D719E2D4C8D}" type="parTrans" cxnId="{F744744F-9F94-407E-9968-025D2B1019BF}">
      <dgm:prSet/>
      <dgm:spPr/>
      <dgm:t>
        <a:bodyPr/>
        <a:lstStyle/>
        <a:p>
          <a:endParaRPr lang="es-CO"/>
        </a:p>
      </dgm:t>
    </dgm:pt>
    <dgm:pt modelId="{EFADCACC-31E5-4939-9D38-110479C82208}" type="sibTrans" cxnId="{F744744F-9F94-407E-9968-025D2B1019BF}">
      <dgm:prSet/>
      <dgm:spPr/>
      <dgm:t>
        <a:bodyPr/>
        <a:lstStyle/>
        <a:p>
          <a:endParaRPr lang="es-CO"/>
        </a:p>
      </dgm:t>
    </dgm:pt>
    <dgm:pt modelId="{EBEC38C2-0F64-41DE-AF90-6A1F1D01AC40}" type="pres">
      <dgm:prSet presAssocID="{C09E56E7-0EFD-4F61-8231-397880964C3F}" presName="list" presStyleCnt="0">
        <dgm:presLayoutVars>
          <dgm:dir/>
          <dgm:animLvl val="lvl"/>
        </dgm:presLayoutVars>
      </dgm:prSet>
      <dgm:spPr/>
      <dgm:t>
        <a:bodyPr/>
        <a:lstStyle/>
        <a:p>
          <a:endParaRPr lang="es-CO"/>
        </a:p>
      </dgm:t>
    </dgm:pt>
    <dgm:pt modelId="{3126DAB4-E573-456B-91D0-B30A92299F12}" type="pres">
      <dgm:prSet presAssocID="{46108268-0EEE-4DBE-8E42-0F6C16845FD3}" presName="posSpace" presStyleCnt="0"/>
      <dgm:spPr/>
    </dgm:pt>
    <dgm:pt modelId="{CFA72137-4450-4808-BF29-EDE7BD19B406}" type="pres">
      <dgm:prSet presAssocID="{46108268-0EEE-4DBE-8E42-0F6C16845FD3}" presName="vertFlow" presStyleCnt="0"/>
      <dgm:spPr/>
    </dgm:pt>
    <dgm:pt modelId="{E55ADCBF-1C0F-4CA6-B6D0-9EA790D1511C}" type="pres">
      <dgm:prSet presAssocID="{46108268-0EEE-4DBE-8E42-0F6C16845FD3}" presName="topSpace" presStyleCnt="0"/>
      <dgm:spPr/>
    </dgm:pt>
    <dgm:pt modelId="{0E11A4CE-403A-40FE-9D5D-B6BE47DE5FCC}" type="pres">
      <dgm:prSet presAssocID="{46108268-0EEE-4DBE-8E42-0F6C16845FD3}" presName="firstComp" presStyleCnt="0"/>
      <dgm:spPr/>
    </dgm:pt>
    <dgm:pt modelId="{7D1C1C9E-9545-4479-8DDE-CACC9670DEBE}" type="pres">
      <dgm:prSet presAssocID="{46108268-0EEE-4DBE-8E42-0F6C16845FD3}" presName="firstChild" presStyleLbl="bgAccFollowNode1" presStyleIdx="0" presStyleCnt="4"/>
      <dgm:spPr/>
      <dgm:t>
        <a:bodyPr/>
        <a:lstStyle/>
        <a:p>
          <a:endParaRPr lang="es-CO"/>
        </a:p>
      </dgm:t>
    </dgm:pt>
    <dgm:pt modelId="{66CDDE49-15E3-41ED-9FFF-26828479CE32}" type="pres">
      <dgm:prSet presAssocID="{46108268-0EEE-4DBE-8E42-0F6C16845FD3}" presName="firstChildTx" presStyleLbl="bg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33B0BC6D-59AF-4CC5-B7FB-0381A97AA754}" type="pres">
      <dgm:prSet presAssocID="{F69B5C65-8209-40D3-9FE4-3F7D283B64BD}" presName="comp" presStyleCnt="0"/>
      <dgm:spPr/>
    </dgm:pt>
    <dgm:pt modelId="{2EE86904-0E99-4B8C-A4B9-2DF6EC77F71E}" type="pres">
      <dgm:prSet presAssocID="{F69B5C65-8209-40D3-9FE4-3F7D283B64BD}" presName="child" presStyleLbl="bgAccFollowNode1" presStyleIdx="1" presStyleCnt="4"/>
      <dgm:spPr/>
      <dgm:t>
        <a:bodyPr/>
        <a:lstStyle/>
        <a:p>
          <a:endParaRPr lang="es-CO"/>
        </a:p>
      </dgm:t>
    </dgm:pt>
    <dgm:pt modelId="{7BFC85D7-DFE1-4831-AE18-A410C1697F50}" type="pres">
      <dgm:prSet presAssocID="{F69B5C65-8209-40D3-9FE4-3F7D283B64BD}" presName="childTx" presStyleLbl="bg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72E9E047-6CD9-46EE-B0E7-F36C52AD65F9}" type="pres">
      <dgm:prSet presAssocID="{46108268-0EEE-4DBE-8E42-0F6C16845FD3}" presName="negSpace" presStyleCnt="0"/>
      <dgm:spPr/>
    </dgm:pt>
    <dgm:pt modelId="{01138934-08E3-4AF8-9881-91D2BE0B8A5B}" type="pres">
      <dgm:prSet presAssocID="{46108268-0EEE-4DBE-8E42-0F6C16845FD3}" presName="circle" presStyleLbl="node1" presStyleIdx="0" presStyleCnt="2"/>
      <dgm:spPr/>
      <dgm:t>
        <a:bodyPr/>
        <a:lstStyle/>
        <a:p>
          <a:endParaRPr lang="es-CO"/>
        </a:p>
      </dgm:t>
    </dgm:pt>
    <dgm:pt modelId="{D7BD76FB-9DFB-4BB4-8F1C-1224C004C792}" type="pres">
      <dgm:prSet presAssocID="{B3435F05-127D-421A-B811-A49DA7228469}" presName="transSpace" presStyleCnt="0"/>
      <dgm:spPr/>
    </dgm:pt>
    <dgm:pt modelId="{1E4E777D-8D63-4FD2-A5E1-8978D10E24CC}" type="pres">
      <dgm:prSet presAssocID="{5DD84150-3CF4-4F6F-ADAC-C5B3C8C10DEB}" presName="posSpace" presStyleCnt="0"/>
      <dgm:spPr/>
    </dgm:pt>
    <dgm:pt modelId="{5729466F-2D45-49D0-BD7B-20457EB3A65E}" type="pres">
      <dgm:prSet presAssocID="{5DD84150-3CF4-4F6F-ADAC-C5B3C8C10DEB}" presName="vertFlow" presStyleCnt="0"/>
      <dgm:spPr/>
    </dgm:pt>
    <dgm:pt modelId="{C1E12C44-1767-49D3-863B-30436F49A5C3}" type="pres">
      <dgm:prSet presAssocID="{5DD84150-3CF4-4F6F-ADAC-C5B3C8C10DEB}" presName="topSpace" presStyleCnt="0"/>
      <dgm:spPr/>
    </dgm:pt>
    <dgm:pt modelId="{4B4595C9-A263-4DE6-911A-300FA8447C36}" type="pres">
      <dgm:prSet presAssocID="{5DD84150-3CF4-4F6F-ADAC-C5B3C8C10DEB}" presName="firstComp" presStyleCnt="0"/>
      <dgm:spPr/>
    </dgm:pt>
    <dgm:pt modelId="{0D531E8B-5E6B-40A4-B368-C47C32057A55}" type="pres">
      <dgm:prSet presAssocID="{5DD84150-3CF4-4F6F-ADAC-C5B3C8C10DEB}" presName="firstChild" presStyleLbl="bgAccFollowNode1" presStyleIdx="2" presStyleCnt="4"/>
      <dgm:spPr/>
      <dgm:t>
        <a:bodyPr/>
        <a:lstStyle/>
        <a:p>
          <a:endParaRPr lang="es-CO"/>
        </a:p>
      </dgm:t>
    </dgm:pt>
    <dgm:pt modelId="{508DC722-6EA2-481C-BA58-F497092E3D7F}" type="pres">
      <dgm:prSet presAssocID="{5DD84150-3CF4-4F6F-ADAC-C5B3C8C10DEB}" presName="firstChildTx" presStyleLbl="bg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DDB02346-49CA-409B-844C-A5F4C031FFE8}" type="pres">
      <dgm:prSet presAssocID="{78D55F1B-3D00-4BEA-A7C3-46318C89009B}" presName="comp" presStyleCnt="0"/>
      <dgm:spPr/>
    </dgm:pt>
    <dgm:pt modelId="{803286CF-7AD4-495F-9B66-71939F04B51A}" type="pres">
      <dgm:prSet presAssocID="{78D55F1B-3D00-4BEA-A7C3-46318C89009B}" presName="child" presStyleLbl="bgAccFollowNode1" presStyleIdx="3" presStyleCnt="4"/>
      <dgm:spPr/>
      <dgm:t>
        <a:bodyPr/>
        <a:lstStyle/>
        <a:p>
          <a:endParaRPr lang="es-CO"/>
        </a:p>
      </dgm:t>
    </dgm:pt>
    <dgm:pt modelId="{9655062B-8F12-46C9-9AA2-6685F695D3E7}" type="pres">
      <dgm:prSet presAssocID="{78D55F1B-3D00-4BEA-A7C3-46318C89009B}" presName="childTx" presStyleLbl="bg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0DC7B421-7CC2-45B9-959A-B64DA66FB502}" type="pres">
      <dgm:prSet presAssocID="{5DD84150-3CF4-4F6F-ADAC-C5B3C8C10DEB}" presName="negSpace" presStyleCnt="0"/>
      <dgm:spPr/>
    </dgm:pt>
    <dgm:pt modelId="{274630A8-68DF-4922-894A-35230070F80D}" type="pres">
      <dgm:prSet presAssocID="{5DD84150-3CF4-4F6F-ADAC-C5B3C8C10DEB}" presName="circle" presStyleLbl="node1" presStyleIdx="1" presStyleCnt="2"/>
      <dgm:spPr/>
      <dgm:t>
        <a:bodyPr/>
        <a:lstStyle/>
        <a:p>
          <a:endParaRPr lang="es-CO"/>
        </a:p>
      </dgm:t>
    </dgm:pt>
  </dgm:ptLst>
  <dgm:cxnLst>
    <dgm:cxn modelId="{F744744F-9F94-407E-9968-025D2B1019BF}" srcId="{5DD84150-3CF4-4F6F-ADAC-C5B3C8C10DEB}" destId="{78D55F1B-3D00-4BEA-A7C3-46318C89009B}" srcOrd="1" destOrd="0" parTransId="{0B201DC2-69A5-4E33-97D6-7D719E2D4C8D}" sibTransId="{EFADCACC-31E5-4939-9D38-110479C82208}"/>
    <dgm:cxn modelId="{CD45AD3E-897D-454B-8CFF-EE70AF64804B}" type="presOf" srcId="{78D55F1B-3D00-4BEA-A7C3-46318C89009B}" destId="{803286CF-7AD4-495F-9B66-71939F04B51A}" srcOrd="0" destOrd="0" presId="urn:microsoft.com/office/officeart/2005/8/layout/hList9"/>
    <dgm:cxn modelId="{FBFE4AF8-65E5-4BDB-8881-65F73F36FBCB}" srcId="{5DD84150-3CF4-4F6F-ADAC-C5B3C8C10DEB}" destId="{9A2746A4-E2F5-4ED2-A6C6-444D84E13CC4}" srcOrd="0" destOrd="0" parTransId="{ADE774F9-410A-4E42-84C8-535E7AABBA75}" sibTransId="{9E1365DF-10D2-4430-A53F-EF995E56EC30}"/>
    <dgm:cxn modelId="{99E6655C-5A25-4990-AD1C-4E7B6879050E}" type="presOf" srcId="{78D55F1B-3D00-4BEA-A7C3-46318C89009B}" destId="{9655062B-8F12-46C9-9AA2-6685F695D3E7}" srcOrd="1" destOrd="0" presId="urn:microsoft.com/office/officeart/2005/8/layout/hList9"/>
    <dgm:cxn modelId="{A1C2D3C5-0030-4551-9153-610304F414B1}" type="presOf" srcId="{46108268-0EEE-4DBE-8E42-0F6C16845FD3}" destId="{01138934-08E3-4AF8-9881-91D2BE0B8A5B}" srcOrd="0" destOrd="0" presId="urn:microsoft.com/office/officeart/2005/8/layout/hList9"/>
    <dgm:cxn modelId="{5835000C-340F-4B10-92D4-BF7972CFA120}" srcId="{C09E56E7-0EFD-4F61-8231-397880964C3F}" destId="{46108268-0EEE-4DBE-8E42-0F6C16845FD3}" srcOrd="0" destOrd="0" parTransId="{6EBE2893-93FB-4A07-8E33-EF1A2CA1FA69}" sibTransId="{B3435F05-127D-421A-B811-A49DA7228469}"/>
    <dgm:cxn modelId="{B626C4F3-B9DA-4002-9688-1996D02FC416}" type="presOf" srcId="{F552EBF8-4FA2-425C-B0E1-E91E6830E7C7}" destId="{7D1C1C9E-9545-4479-8DDE-CACC9670DEBE}" srcOrd="0" destOrd="0" presId="urn:microsoft.com/office/officeart/2005/8/layout/hList9"/>
    <dgm:cxn modelId="{5C6CB5DB-059E-4030-90F0-EAE35421BD0A}" type="presOf" srcId="{9A2746A4-E2F5-4ED2-A6C6-444D84E13CC4}" destId="{0D531E8B-5E6B-40A4-B368-C47C32057A55}" srcOrd="0" destOrd="0" presId="urn:microsoft.com/office/officeart/2005/8/layout/hList9"/>
    <dgm:cxn modelId="{6EB9DC29-3A43-4934-8F77-69B71FB2B7FB}" type="presOf" srcId="{F69B5C65-8209-40D3-9FE4-3F7D283B64BD}" destId="{2EE86904-0E99-4B8C-A4B9-2DF6EC77F71E}" srcOrd="0" destOrd="0" presId="urn:microsoft.com/office/officeart/2005/8/layout/hList9"/>
    <dgm:cxn modelId="{47FE66D6-85A0-4AB4-A562-912EF0F54859}" srcId="{C09E56E7-0EFD-4F61-8231-397880964C3F}" destId="{5DD84150-3CF4-4F6F-ADAC-C5B3C8C10DEB}" srcOrd="1" destOrd="0" parTransId="{99964DA9-9AA5-4C7D-B104-9DBF5E44B726}" sibTransId="{0CEC1DA2-6BFC-4500-BE74-069929AC2A72}"/>
    <dgm:cxn modelId="{3DD2A39A-29E1-46F6-94CA-A0F4B320E8BC}" type="presOf" srcId="{F69B5C65-8209-40D3-9FE4-3F7D283B64BD}" destId="{7BFC85D7-DFE1-4831-AE18-A410C1697F50}" srcOrd="1" destOrd="0" presId="urn:microsoft.com/office/officeart/2005/8/layout/hList9"/>
    <dgm:cxn modelId="{FEF4BDEF-D78F-404B-A5A2-DB2271EC3732}" type="presOf" srcId="{9A2746A4-E2F5-4ED2-A6C6-444D84E13CC4}" destId="{508DC722-6EA2-481C-BA58-F497092E3D7F}" srcOrd="1" destOrd="0" presId="urn:microsoft.com/office/officeart/2005/8/layout/hList9"/>
    <dgm:cxn modelId="{35F1852C-C02A-42C2-8946-19357D94CB27}" srcId="{46108268-0EEE-4DBE-8E42-0F6C16845FD3}" destId="{F69B5C65-8209-40D3-9FE4-3F7D283B64BD}" srcOrd="1" destOrd="0" parTransId="{625E534D-3FFD-48BF-82AE-D0C226962EF7}" sibTransId="{75C6D8FD-1AD6-4FF4-A149-F65F011E6042}"/>
    <dgm:cxn modelId="{EB62441F-2892-4A72-8266-1D6FD194C7A4}" type="presOf" srcId="{F552EBF8-4FA2-425C-B0E1-E91E6830E7C7}" destId="{66CDDE49-15E3-41ED-9FFF-26828479CE32}" srcOrd="1" destOrd="0" presId="urn:microsoft.com/office/officeart/2005/8/layout/hList9"/>
    <dgm:cxn modelId="{916655B9-0673-479E-841A-3D0328B694AB}" type="presOf" srcId="{C09E56E7-0EFD-4F61-8231-397880964C3F}" destId="{EBEC38C2-0F64-41DE-AF90-6A1F1D01AC40}" srcOrd="0" destOrd="0" presId="urn:microsoft.com/office/officeart/2005/8/layout/hList9"/>
    <dgm:cxn modelId="{0064D914-60CB-4B55-B366-E48B9D47B287}" srcId="{46108268-0EEE-4DBE-8E42-0F6C16845FD3}" destId="{F552EBF8-4FA2-425C-B0E1-E91E6830E7C7}" srcOrd="0" destOrd="0" parTransId="{BB6D814A-6336-453E-9817-D52B549C206C}" sibTransId="{B35555E2-8A96-4E35-BE5B-5CCBECED7D44}"/>
    <dgm:cxn modelId="{9C704120-0336-450F-A516-0473DBE4D7B6}" type="presOf" srcId="{5DD84150-3CF4-4F6F-ADAC-C5B3C8C10DEB}" destId="{274630A8-68DF-4922-894A-35230070F80D}" srcOrd="0" destOrd="0" presId="urn:microsoft.com/office/officeart/2005/8/layout/hList9"/>
    <dgm:cxn modelId="{900843C5-2BEF-4007-9FF8-54B9905561A0}" type="presParOf" srcId="{EBEC38C2-0F64-41DE-AF90-6A1F1D01AC40}" destId="{3126DAB4-E573-456B-91D0-B30A92299F12}" srcOrd="0" destOrd="0" presId="urn:microsoft.com/office/officeart/2005/8/layout/hList9"/>
    <dgm:cxn modelId="{CD339864-7975-482A-A49E-7B9B6A1F1101}" type="presParOf" srcId="{EBEC38C2-0F64-41DE-AF90-6A1F1D01AC40}" destId="{CFA72137-4450-4808-BF29-EDE7BD19B406}" srcOrd="1" destOrd="0" presId="urn:microsoft.com/office/officeart/2005/8/layout/hList9"/>
    <dgm:cxn modelId="{0457B971-2F40-401B-B079-092DD7B5E5A1}" type="presParOf" srcId="{CFA72137-4450-4808-BF29-EDE7BD19B406}" destId="{E55ADCBF-1C0F-4CA6-B6D0-9EA790D1511C}" srcOrd="0" destOrd="0" presId="urn:microsoft.com/office/officeart/2005/8/layout/hList9"/>
    <dgm:cxn modelId="{866BC758-E95E-4724-B8A7-BB233FB20C1F}" type="presParOf" srcId="{CFA72137-4450-4808-BF29-EDE7BD19B406}" destId="{0E11A4CE-403A-40FE-9D5D-B6BE47DE5FCC}" srcOrd="1" destOrd="0" presId="urn:microsoft.com/office/officeart/2005/8/layout/hList9"/>
    <dgm:cxn modelId="{A0BF6308-79AB-41D5-A648-118D189CD8A3}" type="presParOf" srcId="{0E11A4CE-403A-40FE-9D5D-B6BE47DE5FCC}" destId="{7D1C1C9E-9545-4479-8DDE-CACC9670DEBE}" srcOrd="0" destOrd="0" presId="urn:microsoft.com/office/officeart/2005/8/layout/hList9"/>
    <dgm:cxn modelId="{A5A5F173-1D39-4756-A8B1-366D8E4793A8}" type="presParOf" srcId="{0E11A4CE-403A-40FE-9D5D-B6BE47DE5FCC}" destId="{66CDDE49-15E3-41ED-9FFF-26828479CE32}" srcOrd="1" destOrd="0" presId="urn:microsoft.com/office/officeart/2005/8/layout/hList9"/>
    <dgm:cxn modelId="{14DDBFE3-190A-468D-A4C1-CF7600A2357B}" type="presParOf" srcId="{CFA72137-4450-4808-BF29-EDE7BD19B406}" destId="{33B0BC6D-59AF-4CC5-B7FB-0381A97AA754}" srcOrd="2" destOrd="0" presId="urn:microsoft.com/office/officeart/2005/8/layout/hList9"/>
    <dgm:cxn modelId="{A600B91F-3674-4409-B748-C98AB072BE0F}" type="presParOf" srcId="{33B0BC6D-59AF-4CC5-B7FB-0381A97AA754}" destId="{2EE86904-0E99-4B8C-A4B9-2DF6EC77F71E}" srcOrd="0" destOrd="0" presId="urn:microsoft.com/office/officeart/2005/8/layout/hList9"/>
    <dgm:cxn modelId="{73513250-9A99-42EF-8D97-5CFC31849BB6}" type="presParOf" srcId="{33B0BC6D-59AF-4CC5-B7FB-0381A97AA754}" destId="{7BFC85D7-DFE1-4831-AE18-A410C1697F50}" srcOrd="1" destOrd="0" presId="urn:microsoft.com/office/officeart/2005/8/layout/hList9"/>
    <dgm:cxn modelId="{6469697E-E1D0-4A75-98DD-BC319E06A6EA}" type="presParOf" srcId="{EBEC38C2-0F64-41DE-AF90-6A1F1D01AC40}" destId="{72E9E047-6CD9-46EE-B0E7-F36C52AD65F9}" srcOrd="2" destOrd="0" presId="urn:microsoft.com/office/officeart/2005/8/layout/hList9"/>
    <dgm:cxn modelId="{6DFC2B93-5FA7-443A-9250-8748214F297D}" type="presParOf" srcId="{EBEC38C2-0F64-41DE-AF90-6A1F1D01AC40}" destId="{01138934-08E3-4AF8-9881-91D2BE0B8A5B}" srcOrd="3" destOrd="0" presId="urn:microsoft.com/office/officeart/2005/8/layout/hList9"/>
    <dgm:cxn modelId="{1E405F25-BCFD-4304-920D-88EB7ED7E237}" type="presParOf" srcId="{EBEC38C2-0F64-41DE-AF90-6A1F1D01AC40}" destId="{D7BD76FB-9DFB-4BB4-8F1C-1224C004C792}" srcOrd="4" destOrd="0" presId="urn:microsoft.com/office/officeart/2005/8/layout/hList9"/>
    <dgm:cxn modelId="{18EAFC4B-B6BC-4BA7-BDAA-787150D8CF39}" type="presParOf" srcId="{EBEC38C2-0F64-41DE-AF90-6A1F1D01AC40}" destId="{1E4E777D-8D63-4FD2-A5E1-8978D10E24CC}" srcOrd="5" destOrd="0" presId="urn:microsoft.com/office/officeart/2005/8/layout/hList9"/>
    <dgm:cxn modelId="{6189F664-E1D9-4328-81AC-316D77BA59F7}" type="presParOf" srcId="{EBEC38C2-0F64-41DE-AF90-6A1F1D01AC40}" destId="{5729466F-2D45-49D0-BD7B-20457EB3A65E}" srcOrd="6" destOrd="0" presId="urn:microsoft.com/office/officeart/2005/8/layout/hList9"/>
    <dgm:cxn modelId="{9FB5A96B-5845-44DE-A352-57904C6C3693}" type="presParOf" srcId="{5729466F-2D45-49D0-BD7B-20457EB3A65E}" destId="{C1E12C44-1767-49D3-863B-30436F49A5C3}" srcOrd="0" destOrd="0" presId="urn:microsoft.com/office/officeart/2005/8/layout/hList9"/>
    <dgm:cxn modelId="{E78EC6ED-AC8D-448D-BBE6-F70C621F44AB}" type="presParOf" srcId="{5729466F-2D45-49D0-BD7B-20457EB3A65E}" destId="{4B4595C9-A263-4DE6-911A-300FA8447C36}" srcOrd="1" destOrd="0" presId="urn:microsoft.com/office/officeart/2005/8/layout/hList9"/>
    <dgm:cxn modelId="{FB699D6D-D2FA-46D3-9E15-ABE9F290415B}" type="presParOf" srcId="{4B4595C9-A263-4DE6-911A-300FA8447C36}" destId="{0D531E8B-5E6B-40A4-B368-C47C32057A55}" srcOrd="0" destOrd="0" presId="urn:microsoft.com/office/officeart/2005/8/layout/hList9"/>
    <dgm:cxn modelId="{2B54B6A7-4305-484B-97FA-76868B5E5DF4}" type="presParOf" srcId="{4B4595C9-A263-4DE6-911A-300FA8447C36}" destId="{508DC722-6EA2-481C-BA58-F497092E3D7F}" srcOrd="1" destOrd="0" presId="urn:microsoft.com/office/officeart/2005/8/layout/hList9"/>
    <dgm:cxn modelId="{1542A403-553D-4F1F-84D4-7E9F7A185B35}" type="presParOf" srcId="{5729466F-2D45-49D0-BD7B-20457EB3A65E}" destId="{DDB02346-49CA-409B-844C-A5F4C031FFE8}" srcOrd="2" destOrd="0" presId="urn:microsoft.com/office/officeart/2005/8/layout/hList9"/>
    <dgm:cxn modelId="{032BE8D4-6C2D-4479-9122-C195C68ABFA1}" type="presParOf" srcId="{DDB02346-49CA-409B-844C-A5F4C031FFE8}" destId="{803286CF-7AD4-495F-9B66-71939F04B51A}" srcOrd="0" destOrd="0" presId="urn:microsoft.com/office/officeart/2005/8/layout/hList9"/>
    <dgm:cxn modelId="{E351E393-9BBE-46B0-8071-CC9C01BE9E0D}" type="presParOf" srcId="{DDB02346-49CA-409B-844C-A5F4C031FFE8}" destId="{9655062B-8F12-46C9-9AA2-6685F695D3E7}" srcOrd="1" destOrd="0" presId="urn:microsoft.com/office/officeart/2005/8/layout/hList9"/>
    <dgm:cxn modelId="{475C43F9-0D16-477E-B6C0-034D1980071F}" type="presParOf" srcId="{EBEC38C2-0F64-41DE-AF90-6A1F1D01AC40}" destId="{0DC7B421-7CC2-45B9-959A-B64DA66FB502}" srcOrd="7" destOrd="0" presId="urn:microsoft.com/office/officeart/2005/8/layout/hList9"/>
    <dgm:cxn modelId="{8DF6FB1F-23A3-4DE8-95D9-25F0425C1969}" type="presParOf" srcId="{EBEC38C2-0F64-41DE-AF90-6A1F1D01AC40}" destId="{274630A8-68DF-4922-894A-35230070F80D}" srcOrd="8" destOrd="0" presId="urn:microsoft.com/office/officeart/2005/8/layout/hList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D1E2AD0-EC80-4295-823F-3E30B6C3EE06}">
      <dsp:nvSpPr>
        <dsp:cNvPr id="0" name=""/>
        <dsp:cNvSpPr/>
      </dsp:nvSpPr>
      <dsp:spPr>
        <a:xfrm rot="10800000">
          <a:off x="1754960" y="0"/>
          <a:ext cx="6029380" cy="1362954"/>
        </a:xfrm>
        <a:prstGeom prst="homePlate">
          <a:avLst/>
        </a:prstGeom>
        <a:solidFill>
          <a:srgbClr val="8064A2">
            <a:lumMod val="20000"/>
            <a:lumOff val="8000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1025" tIns="53340" rIns="99568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400" kern="1200" dirty="0" smtClean="0">
              <a:solidFill>
                <a:sysClr val="windowText" lastClr="000000"/>
              </a:solidFill>
              <a:latin typeface="Futura Lt"/>
              <a:ea typeface="+mn-ea"/>
              <a:cs typeface="+mn-cs"/>
            </a:rPr>
            <a:t>- </a:t>
          </a:r>
          <a:r>
            <a:rPr lang="es-CO" sz="1400" kern="1200" dirty="0" smtClean="0">
              <a:solidFill>
                <a:sysClr val="windowText" lastClr="000000"/>
              </a:solidFill>
              <a:latin typeface="Futura Lt"/>
              <a:ea typeface="+mn-ea"/>
              <a:cs typeface="+mn-cs"/>
            </a:rPr>
            <a:t>Se esta adecuando el Modelo a lo establecido en el Decreto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400" kern="1200" dirty="0" smtClean="0">
              <a:solidFill>
                <a:sysClr val="windowText" lastClr="000000"/>
              </a:solidFill>
              <a:latin typeface="Futura Lt"/>
              <a:ea typeface="+mn-ea"/>
              <a:cs typeface="+mn-cs"/>
            </a:rPr>
            <a:t>   943/14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400" kern="1200" dirty="0" smtClean="0">
              <a:solidFill>
                <a:sysClr val="windowText" lastClr="000000"/>
              </a:solidFill>
              <a:latin typeface="Futura Lt"/>
              <a:ea typeface="+mn-ea"/>
              <a:cs typeface="+mn-cs"/>
            </a:rPr>
            <a:t>- Implementado </a:t>
          </a:r>
          <a:r>
            <a:rPr lang="es-CO" sz="1400" kern="1200" dirty="0" smtClean="0">
              <a:solidFill>
                <a:sysClr val="windowText" lastClr="000000"/>
              </a:solidFill>
              <a:latin typeface="Futura Lt"/>
              <a:ea typeface="+mn-ea"/>
              <a:cs typeface="+mn-cs"/>
            </a:rPr>
            <a:t>en un </a:t>
          </a:r>
          <a:r>
            <a:rPr lang="es-CO" sz="1400" kern="1200" dirty="0" smtClean="0">
              <a:solidFill>
                <a:sysClr val="windowText" lastClr="000000"/>
              </a:solidFill>
              <a:latin typeface="Futura Lt"/>
              <a:ea typeface="+mn-ea"/>
              <a:cs typeface="+mn-cs"/>
            </a:rPr>
            <a:t>70%</a:t>
          </a:r>
          <a:endParaRPr lang="es-CO" sz="1400" kern="1200" dirty="0" smtClean="0">
            <a:solidFill>
              <a:sysClr val="windowText" lastClr="000000"/>
            </a:solidFill>
            <a:latin typeface="Futura Lt"/>
            <a:ea typeface="+mn-ea"/>
            <a:cs typeface="+mn-cs"/>
          </a:endParaRP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400" kern="1200" dirty="0" smtClean="0">
              <a:solidFill>
                <a:sysClr val="windowText" lastClr="000000"/>
              </a:solidFill>
              <a:latin typeface="Futura Lt"/>
              <a:ea typeface="+mn-ea"/>
              <a:cs typeface="+mn-cs"/>
            </a:rPr>
            <a:t>- Plan de Mejoramiento por Procesos en ejecución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400" kern="1200" dirty="0" smtClean="0">
              <a:solidFill>
                <a:sysClr val="windowText" lastClr="000000"/>
              </a:solidFill>
              <a:latin typeface="Futura Lt"/>
              <a:ea typeface="+mn-ea"/>
              <a:cs typeface="+mn-cs"/>
            </a:rPr>
            <a:t>- Auditorías y seguimiento periódico</a:t>
          </a:r>
          <a:endParaRPr lang="es-CO" sz="1400" kern="1200" dirty="0">
            <a:solidFill>
              <a:sysClr val="windowText" lastClr="000000"/>
            </a:solidFill>
            <a:latin typeface="Futura Lt"/>
            <a:ea typeface="+mn-ea"/>
            <a:cs typeface="+mn-cs"/>
          </a:endParaRPr>
        </a:p>
      </dsp:txBody>
      <dsp:txXfrm rot="10800000">
        <a:off x="2095698" y="0"/>
        <a:ext cx="5688642" cy="1362954"/>
      </dsp:txXfrm>
    </dsp:sp>
    <dsp:sp modelId="{EA54EBF8-A3F4-4AA0-A208-391F0B09362E}">
      <dsp:nvSpPr>
        <dsp:cNvPr id="0" name=""/>
        <dsp:cNvSpPr/>
      </dsp:nvSpPr>
      <dsp:spPr>
        <a:xfrm>
          <a:off x="1282396" y="191997"/>
          <a:ext cx="945127" cy="980277"/>
        </a:xfrm>
        <a:prstGeom prst="ellipse">
          <a:avLst/>
        </a:prstGeom>
        <a:gradFill rotWithShape="0">
          <a:gsLst>
            <a:gs pos="0">
              <a:srgbClr val="4F81BD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rgbClr>
            </a:gs>
            <a:gs pos="100000">
              <a:srgbClr val="4F81BD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3B46947-F1BF-41E6-BD91-90881C02AD28}">
      <dsp:nvSpPr>
        <dsp:cNvPr id="0" name=""/>
        <dsp:cNvSpPr/>
      </dsp:nvSpPr>
      <dsp:spPr>
        <a:xfrm rot="10800000">
          <a:off x="1748943" y="1708220"/>
          <a:ext cx="6029380" cy="1362954"/>
        </a:xfrm>
        <a:prstGeom prst="homePlate">
          <a:avLst/>
        </a:prstGeom>
        <a:solidFill>
          <a:srgbClr val="8064A2">
            <a:lumMod val="20000"/>
            <a:lumOff val="8000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1025" tIns="53340" rIns="99568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400" kern="1200" dirty="0" smtClean="0">
              <a:solidFill>
                <a:sysClr val="windowText" lastClr="000000"/>
              </a:solidFill>
              <a:latin typeface="Futura Lt"/>
              <a:ea typeface="+mn-ea"/>
              <a:cs typeface="+mn-cs"/>
            </a:rPr>
            <a:t>- </a:t>
          </a:r>
          <a:r>
            <a:rPr lang="es-CO" sz="1400" kern="1200" dirty="0" smtClean="0">
              <a:solidFill>
                <a:sysClr val="windowText" lastClr="000000"/>
              </a:solidFill>
              <a:latin typeface="Futura Lt"/>
              <a:ea typeface="+mn-ea"/>
              <a:cs typeface="+mn-cs"/>
            </a:rPr>
            <a:t>Cumplimiento Plan Estratégico 67,32%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400" kern="1200" dirty="0" smtClean="0">
              <a:solidFill>
                <a:sysClr val="windowText" lastClr="000000"/>
              </a:solidFill>
              <a:latin typeface="Futura Lt"/>
              <a:ea typeface="+mn-ea"/>
              <a:cs typeface="+mn-cs"/>
            </a:rPr>
            <a:t>- Revisión </a:t>
          </a:r>
          <a:r>
            <a:rPr lang="es-CO" sz="1400" kern="1200" dirty="0" smtClean="0">
              <a:solidFill>
                <a:sysClr val="windowText" lastClr="000000"/>
              </a:solidFill>
              <a:latin typeface="Futura Lt"/>
              <a:ea typeface="+mn-ea"/>
              <a:cs typeface="+mn-cs"/>
            </a:rPr>
            <a:t>y ajuste de la documentación del Sistema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400" kern="1200" dirty="0" smtClean="0">
              <a:solidFill>
                <a:sysClr val="windowText" lastClr="000000"/>
              </a:solidFill>
              <a:latin typeface="Futura Lt"/>
              <a:ea typeface="+mn-ea"/>
              <a:cs typeface="+mn-cs"/>
            </a:rPr>
            <a:t>- Actualización de los Procesos y Procedimientos</a:t>
          </a:r>
        </a:p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O" sz="1400" kern="1200" dirty="0" smtClean="0">
            <a:solidFill>
              <a:sysClr val="windowText" lastClr="000000"/>
            </a:solidFill>
            <a:latin typeface="Futura Lt"/>
            <a:ea typeface="+mn-ea"/>
            <a:cs typeface="+mn-cs"/>
          </a:endParaRPr>
        </a:p>
      </dsp:txBody>
      <dsp:txXfrm rot="10800000">
        <a:off x="2089681" y="1708220"/>
        <a:ext cx="5688642" cy="1362954"/>
      </dsp:txXfrm>
    </dsp:sp>
    <dsp:sp modelId="{05C32D58-1892-46C6-8A21-6FE546405BE6}">
      <dsp:nvSpPr>
        <dsp:cNvPr id="0" name=""/>
        <dsp:cNvSpPr/>
      </dsp:nvSpPr>
      <dsp:spPr>
        <a:xfrm>
          <a:off x="1288414" y="1921277"/>
          <a:ext cx="921057" cy="936840"/>
        </a:xfrm>
        <a:prstGeom prst="ellipse">
          <a:avLst/>
        </a:prstGeom>
        <a:gradFill rotWithShape="0">
          <a:gsLst>
            <a:gs pos="0">
              <a:srgbClr val="4F81BD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rgbClr>
            </a:gs>
            <a:gs pos="100000">
              <a:srgbClr val="4F81BD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D1C1C9E-9545-4479-8DDE-CACC9670DEBE}">
      <dsp:nvSpPr>
        <dsp:cNvPr id="0" name=""/>
        <dsp:cNvSpPr/>
      </dsp:nvSpPr>
      <dsp:spPr>
        <a:xfrm>
          <a:off x="1048788" y="828296"/>
          <a:ext cx="1964176" cy="1310105"/>
        </a:xfrm>
        <a:prstGeom prst="rect">
          <a:avLst/>
        </a:prstGeom>
        <a:solidFill>
          <a:srgbClr val="8064A2">
            <a:lumMod val="20000"/>
            <a:lumOff val="80000"/>
          </a:srgbClr>
        </a:solidFill>
        <a:ln w="25400" cap="flat" cmpd="sng" algn="ctr">
          <a:solidFill>
            <a:srgbClr val="9BBB59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35128" rIns="135128" bIns="135128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9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Futura Lt"/>
              <a:ea typeface="+mn-ea"/>
              <a:cs typeface="+mn-cs"/>
            </a:rPr>
            <a:t>Número de Hallazgos: </a:t>
          </a:r>
          <a:r>
            <a:rPr lang="es-CO" sz="19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Futura Lt"/>
              <a:ea typeface="+mn-ea"/>
              <a:cs typeface="+mn-cs"/>
            </a:rPr>
            <a:t>399</a:t>
          </a:r>
          <a:endParaRPr lang="es-CO" sz="19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Futura Lt"/>
            <a:ea typeface="+mn-ea"/>
            <a:cs typeface="+mn-cs"/>
          </a:endParaRPr>
        </a:p>
      </dsp:txBody>
      <dsp:txXfrm>
        <a:off x="1363056" y="828296"/>
        <a:ext cx="1649908" cy="1310105"/>
      </dsp:txXfrm>
    </dsp:sp>
    <dsp:sp modelId="{2EE86904-0E99-4B8C-A4B9-2DF6EC77F71E}">
      <dsp:nvSpPr>
        <dsp:cNvPr id="0" name=""/>
        <dsp:cNvSpPr/>
      </dsp:nvSpPr>
      <dsp:spPr>
        <a:xfrm>
          <a:off x="1048788" y="2138401"/>
          <a:ext cx="1964176" cy="1310105"/>
        </a:xfrm>
        <a:prstGeom prst="rect">
          <a:avLst/>
        </a:prstGeom>
        <a:solidFill>
          <a:srgbClr val="8064A2">
            <a:lumMod val="20000"/>
            <a:lumOff val="80000"/>
          </a:srgbClr>
        </a:solidFill>
        <a:ln w="25400" cap="flat" cmpd="sng" algn="ctr">
          <a:solidFill>
            <a:srgbClr val="9BBB59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35128" rIns="135128" bIns="135128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9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Futura Lt"/>
              <a:ea typeface="+mn-ea"/>
              <a:cs typeface="+mn-cs"/>
            </a:rPr>
            <a:t>Avance cumplimiento </a:t>
          </a:r>
          <a:r>
            <a:rPr lang="es-CO" sz="19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Futura Lt"/>
              <a:ea typeface="+mn-ea"/>
              <a:cs typeface="+mn-cs"/>
            </a:rPr>
            <a:t>81,16%</a:t>
          </a:r>
          <a:endParaRPr lang="es-CO" sz="19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Futura Lt"/>
            <a:ea typeface="+mn-ea"/>
            <a:cs typeface="+mn-cs"/>
          </a:endParaRPr>
        </a:p>
      </dsp:txBody>
      <dsp:txXfrm>
        <a:off x="1363056" y="2138401"/>
        <a:ext cx="1649908" cy="1310105"/>
      </dsp:txXfrm>
    </dsp:sp>
    <dsp:sp modelId="{01138934-08E3-4AF8-9881-91D2BE0B8A5B}">
      <dsp:nvSpPr>
        <dsp:cNvPr id="0" name=""/>
        <dsp:cNvSpPr/>
      </dsp:nvSpPr>
      <dsp:spPr>
        <a:xfrm>
          <a:off x="1228" y="304515"/>
          <a:ext cx="1309450" cy="1309450"/>
        </a:xfrm>
        <a:prstGeom prst="ellipse">
          <a:avLst/>
        </a:prstGeom>
        <a:gradFill rotWithShape="0">
          <a:gsLst>
            <a:gs pos="0">
              <a:srgbClr val="4F81BD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rgbClr>
            </a:gs>
            <a:gs pos="100000">
              <a:srgbClr val="4F81BD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600" kern="1200" dirty="0" smtClean="0">
              <a:solidFill>
                <a:sysClr val="window" lastClr="FFFFFF"/>
              </a:solidFill>
              <a:latin typeface="Futura Lt"/>
              <a:ea typeface="+mn-ea"/>
              <a:cs typeface="+mn-cs"/>
            </a:rPr>
            <a:t>Dic. </a:t>
          </a:r>
          <a:r>
            <a:rPr lang="es-CO" sz="2600" kern="1200" dirty="0" smtClean="0">
              <a:solidFill>
                <a:sysClr val="window" lastClr="FFFFFF"/>
              </a:solidFill>
              <a:latin typeface="Futura Lt"/>
              <a:ea typeface="+mn-ea"/>
              <a:cs typeface="+mn-cs"/>
            </a:rPr>
            <a:t>2013</a:t>
          </a:r>
          <a:endParaRPr lang="es-CO" sz="2600" kern="1200" dirty="0">
            <a:solidFill>
              <a:sysClr val="window" lastClr="FFFFFF"/>
            </a:solidFill>
            <a:latin typeface="Futura Lt"/>
            <a:ea typeface="+mn-ea"/>
            <a:cs typeface="+mn-cs"/>
          </a:endParaRPr>
        </a:p>
      </dsp:txBody>
      <dsp:txXfrm>
        <a:off x="192993" y="496280"/>
        <a:ext cx="925920" cy="925920"/>
      </dsp:txXfrm>
    </dsp:sp>
    <dsp:sp modelId="{0D531E8B-5E6B-40A4-B368-C47C32057A55}">
      <dsp:nvSpPr>
        <dsp:cNvPr id="0" name=""/>
        <dsp:cNvSpPr/>
      </dsp:nvSpPr>
      <dsp:spPr>
        <a:xfrm>
          <a:off x="4322415" y="828296"/>
          <a:ext cx="1964176" cy="1310105"/>
        </a:xfrm>
        <a:prstGeom prst="rect">
          <a:avLst/>
        </a:prstGeom>
        <a:solidFill>
          <a:srgbClr val="8064A2">
            <a:lumMod val="20000"/>
            <a:lumOff val="80000"/>
          </a:srgbClr>
        </a:solidFill>
        <a:ln w="25400" cap="flat" cmpd="sng" algn="ctr">
          <a:solidFill>
            <a:srgbClr val="9BBB59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35128" rIns="135128" bIns="135128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9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Futura Lt"/>
              <a:ea typeface="+mn-ea"/>
              <a:cs typeface="+mn-cs"/>
            </a:rPr>
            <a:t>Número de Hallazgos:  </a:t>
          </a:r>
          <a:r>
            <a:rPr lang="es-CO" sz="19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Futura Lt"/>
              <a:ea typeface="+mn-ea"/>
              <a:cs typeface="+mn-cs"/>
            </a:rPr>
            <a:t>434</a:t>
          </a:r>
          <a:endParaRPr lang="es-CO" sz="19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Futura Lt"/>
            <a:ea typeface="+mn-ea"/>
            <a:cs typeface="+mn-cs"/>
          </a:endParaRPr>
        </a:p>
      </dsp:txBody>
      <dsp:txXfrm>
        <a:off x="4636683" y="828296"/>
        <a:ext cx="1649908" cy="1310105"/>
      </dsp:txXfrm>
    </dsp:sp>
    <dsp:sp modelId="{803286CF-7AD4-495F-9B66-71939F04B51A}">
      <dsp:nvSpPr>
        <dsp:cNvPr id="0" name=""/>
        <dsp:cNvSpPr/>
      </dsp:nvSpPr>
      <dsp:spPr>
        <a:xfrm>
          <a:off x="4322415" y="2138401"/>
          <a:ext cx="1964176" cy="1310105"/>
        </a:xfrm>
        <a:prstGeom prst="rect">
          <a:avLst/>
        </a:prstGeom>
        <a:solidFill>
          <a:srgbClr val="8064A2">
            <a:lumMod val="20000"/>
            <a:lumOff val="80000"/>
          </a:srgbClr>
        </a:solidFill>
        <a:ln w="25400" cap="flat" cmpd="sng" algn="ctr">
          <a:solidFill>
            <a:srgbClr val="9BBB59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35128" rIns="135128" bIns="135128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9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Futura Lt"/>
              <a:ea typeface="+mn-ea"/>
              <a:cs typeface="+mn-cs"/>
            </a:rPr>
            <a:t>Avance cumplimiento </a:t>
          </a:r>
          <a:r>
            <a:rPr lang="es-CO" sz="19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Futura Lt"/>
              <a:ea typeface="+mn-ea"/>
              <a:cs typeface="+mn-cs"/>
            </a:rPr>
            <a:t>82.21%</a:t>
          </a:r>
          <a:endParaRPr lang="es-CO" sz="19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Futura Lt"/>
            <a:ea typeface="+mn-ea"/>
            <a:cs typeface="+mn-cs"/>
          </a:endParaRPr>
        </a:p>
      </dsp:txBody>
      <dsp:txXfrm>
        <a:off x="4636683" y="2138401"/>
        <a:ext cx="1649908" cy="1310105"/>
      </dsp:txXfrm>
    </dsp:sp>
    <dsp:sp modelId="{274630A8-68DF-4922-894A-35230070F80D}">
      <dsp:nvSpPr>
        <dsp:cNvPr id="0" name=""/>
        <dsp:cNvSpPr/>
      </dsp:nvSpPr>
      <dsp:spPr>
        <a:xfrm>
          <a:off x="3274855" y="304515"/>
          <a:ext cx="1309450" cy="1309450"/>
        </a:xfrm>
        <a:prstGeom prst="ellipse">
          <a:avLst/>
        </a:prstGeom>
        <a:gradFill rotWithShape="0">
          <a:gsLst>
            <a:gs pos="0">
              <a:srgbClr val="4F81BD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rgbClr>
            </a:gs>
            <a:gs pos="100000">
              <a:srgbClr val="4F81BD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600" kern="1200" dirty="0" smtClean="0">
              <a:solidFill>
                <a:sysClr val="window" lastClr="FFFFFF"/>
              </a:solidFill>
              <a:latin typeface="Futura Lt"/>
              <a:ea typeface="+mn-ea"/>
              <a:cs typeface="+mn-cs"/>
            </a:rPr>
            <a:t>Sept.</a:t>
          </a:r>
          <a:endParaRPr lang="es-CO" sz="2600" kern="1200" dirty="0" smtClean="0">
            <a:solidFill>
              <a:sysClr val="window" lastClr="FFFFFF"/>
            </a:solidFill>
            <a:latin typeface="Futura Lt"/>
            <a:ea typeface="+mn-ea"/>
            <a:cs typeface="+mn-cs"/>
          </a:endParaRPr>
        </a:p>
        <a:p>
          <a:pPr lvl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600" kern="1200" dirty="0" smtClean="0">
              <a:solidFill>
                <a:sysClr val="window" lastClr="FFFFFF"/>
              </a:solidFill>
              <a:latin typeface="Futura Lt"/>
              <a:ea typeface="+mn-ea"/>
              <a:cs typeface="+mn-cs"/>
            </a:rPr>
            <a:t>2014</a:t>
          </a:r>
          <a:endParaRPr lang="es-CO" sz="2600" kern="1200" dirty="0">
            <a:solidFill>
              <a:sysClr val="window" lastClr="FFFFFF"/>
            </a:solidFill>
            <a:latin typeface="Futura Lt"/>
            <a:ea typeface="+mn-ea"/>
            <a:cs typeface="+mn-cs"/>
          </a:endParaRPr>
        </a:p>
      </dsp:txBody>
      <dsp:txXfrm>
        <a:off x="3466620" y="496280"/>
        <a:ext cx="925920" cy="92592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#1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9">
  <dgm:title val=""/>
  <dgm:desc val=""/>
  <dgm:catLst>
    <dgm:cat type="list" pri="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3" srcId="0" destId="1" srcOrd="0" destOrd="0"/>
        <dgm:cxn modelId="4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2"/>
        <dgm:pt modelId="21"/>
        <dgm:pt modelId="22"/>
        <dgm:pt modelId="23"/>
        <dgm:pt modelId="24"/>
        <dgm:pt modelId="3"/>
        <dgm:pt modelId="31"/>
        <dgm:pt modelId="32"/>
        <dgm:pt modelId="33"/>
        <dgm:pt modelId="34"/>
      </dgm:ptLst>
      <dgm:cxnLst>
        <dgm:cxn modelId="4" srcId="0" destId="1" srcOrd="0" destOrd="0"/>
        <dgm:cxn modelId="5" srcId="0" destId="2" srcOrd="1" destOrd="0"/>
        <dgm:cxn modelId="6" srcId="0" destId="3" srcOrd="1" destOrd="0"/>
        <dgm:cxn modelId="15" srcId="1" destId="11" srcOrd="0" destOrd="0"/>
        <dgm:cxn modelId="16" srcId="1" destId="12" srcOrd="0" destOrd="0"/>
        <dgm:cxn modelId="17" srcId="1" destId="13" srcOrd="0" destOrd="0"/>
        <dgm:cxn modelId="18" srcId="1" destId="14" srcOrd="0" destOrd="0"/>
        <dgm:cxn modelId="25" srcId="2" destId="21" srcOrd="0" destOrd="0"/>
        <dgm:cxn modelId="26" srcId="2" destId="22" srcOrd="0" destOrd="0"/>
        <dgm:cxn modelId="27" srcId="2" destId="23" srcOrd="0" destOrd="0"/>
        <dgm:cxn modelId="28" srcId="2" destId="24" srcOrd="0" destOrd="0"/>
        <dgm:cxn modelId="35" srcId="3" destId="31" srcOrd="0" destOrd="0"/>
        <dgm:cxn modelId="36" srcId="3" destId="32" srcOrd="0" destOrd="0"/>
        <dgm:cxn modelId="37" srcId="3" destId="33" srcOrd="0" destOrd="0"/>
        <dgm:cxn modelId="38" srcId="3" destId="34" srcOrd="0" destOrd="0"/>
      </dgm:cxnLst>
      <dgm:bg/>
      <dgm:whole/>
    </dgm:dataModel>
  </dgm:clrData>
  <dgm:layoutNode name="list">
    <dgm:varLst>
      <dgm:dir/>
      <dgm:animLvl val="lvl"/>
    </dgm:varLst>
    <dgm:choose name="Name0">
      <dgm:if name="Name1" func="var" arg="dir" op="equ" val="norm">
        <dgm:alg type="lin">
          <dgm:param type="linDir" val="fromL"/>
          <dgm:param type="fallback" val="2D"/>
          <dgm:param type="nodeVertAlign" val="t"/>
        </dgm:alg>
      </dgm:if>
      <dgm:else name="Name2">
        <dgm:alg type="lin">
          <dgm:param type="linDir" val="fromR"/>
          <dgm:param type="fallback" val="2D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ircle" refType="w" fact="0.5"/>
      <dgm:constr type="w" for="ch" forName="vertFlow" refType="w" fact="0.75"/>
      <dgm:constr type="h" for="des" forName="firstComp" refType="w" refFor="ch" refForName="vertFlow" fact="0.667"/>
      <dgm:constr type="h" for="des" forName="comp" refType="h" refFor="des" refForName="firstComp" op="equ"/>
      <dgm:constr type="h" for="des" forName="topSpace" refType="w" refFor="ch" refForName="circle" op="equ" fact="0.4"/>
      <dgm:constr type="w" for="ch" forName="posSpace" refType="w" fact="0.4"/>
      <dgm:constr type="w" for="ch" forName="negSpace" refType="w" fact="-1.15"/>
      <dgm:constr type="w" for="ch" forName="transSpace" refType="w" fact="0.75"/>
      <dgm:constr type="primFontSz" for="ch" forName="circle" op="equ" val="65"/>
      <dgm:constr type="primFontSz" for="des" forName="firstChildTx" val="65"/>
      <dgm:constr type="primFontSz" for="des" forName="childTx" refType="primFontSz" refFor="des" refForName="firstChildTx" op="equ"/>
    </dgm:constrLst>
    <dgm:ruleLst/>
    <dgm:forEach name="Name3" axis="ch" ptType="node">
      <dgm:layoutNode name="pos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vertFlow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firstComp" refType="w"/>
          <dgm:constr type="w" for="ch" forName="comp" refType="w"/>
        </dgm:constrLst>
        <dgm:ruleLst/>
        <dgm:layoutNode name="top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firstComp">
          <dgm:alg type="composite"/>
          <dgm:shape xmlns:r="http://schemas.openxmlformats.org/officeDocument/2006/relationships" r:blip="">
            <dgm:adjLst/>
          </dgm:shape>
          <dgm:presOf/>
          <dgm:choose name="Name4">
            <dgm:if name="Name5" func="var" arg="dir" op="equ" val="norm">
              <dgm:constrLst>
                <dgm:constr type="l" for="ch" forName="firstChild"/>
                <dgm:constr type="t" for="ch" forName="firstChild"/>
                <dgm:constr type="w" for="ch" forName="firstChild" refType="w"/>
                <dgm:constr type="h" for="ch" forName="firstChild" refType="h"/>
                <dgm:constr type="l" for="ch" forName="firstChildTx" refType="w" fact="0.16"/>
                <dgm:constr type="r" for="ch" forName="firstChildTx" refType="w"/>
                <dgm:constr type="h" for="ch" forName="firstChildTx" refFor="ch" refForName="firstChild" op="equ"/>
              </dgm:constrLst>
            </dgm:if>
            <dgm:else name="Name6">
              <dgm:constrLst>
                <dgm:constr type="l" for="ch" forName="firstChild"/>
                <dgm:constr type="t" for="ch" forName="firstChild"/>
                <dgm:constr type="w" for="ch" forName="firstChild" refType="w"/>
                <dgm:constr type="h" for="ch" forName="firstChild" refType="h"/>
                <dgm:constr type="l" for="ch" forName="firstChildTx"/>
                <dgm:constr type="r" for="ch" forName="firstChildTx" refType="w" fact="0.825"/>
                <dgm:constr type="h" for="ch" forName="firstChildTx" refFor="ch" refForName="firstChild" op="equ"/>
              </dgm:constrLst>
            </dgm:else>
          </dgm:choose>
          <dgm:ruleLst/>
          <dgm:layoutNode name="firstChild" styleLbl="bgAccFollowNode1">
            <dgm:alg type="sp"/>
            <dgm:shape xmlns:r="http://schemas.openxmlformats.org/officeDocument/2006/relationships" type="rect" r:blip="">
              <dgm:adjLst/>
            </dgm:shape>
            <dgm:presOf axis="ch desOrSelf" ptType="node node" cnt="1 0"/>
            <dgm:constrLst/>
            <dgm:ruleLst/>
          </dgm:layoutNode>
          <dgm:layoutNode name="firstChildTx" styleLbl="bgAccFollowNode1">
            <dgm:varLst>
              <dgm:bulletEnabled val="1"/>
            </dgm:varLst>
            <dgm:alg type="tx">
              <dgm:param type="parTxLTRAlign" val="l"/>
            </dgm:alg>
            <dgm:shape xmlns:r="http://schemas.openxmlformats.org/officeDocument/2006/relationships" type="rect" r:blip="" hideGeom="1">
              <dgm:adjLst/>
            </dgm:shape>
            <dgm:presOf axis="ch desOrSelf" ptType="node node" cnt="1 0"/>
            <dgm:choose name="Name7">
              <dgm:if name="Name8" func="var" arg="dir" op="equ" val="norm">
                <dgm:constrLst>
                  <dgm:constr type="primFontSz" val="65"/>
                  <dgm:constr type="lMarg"/>
                </dgm:constrLst>
              </dgm:if>
              <dgm:else name="Name9">
                <dgm:constrLst>
                  <dgm:constr type="primFontSz" val="65"/>
                  <dgm:constr type="rMarg"/>
                </dgm:constrLst>
              </dgm:else>
            </dgm:choose>
            <dgm:ruleLst>
              <dgm:rule type="primFontSz" val="5" fact="NaN" max="NaN"/>
            </dgm:ruleLst>
          </dgm:layoutNode>
        </dgm:layoutNode>
        <dgm:forEach name="Name10" axis="ch" ptType="node" st="2">
          <dgm:layoutNode name="comp">
            <dgm:alg type="composite"/>
            <dgm:shape xmlns:r="http://schemas.openxmlformats.org/officeDocument/2006/relationships" r:blip="">
              <dgm:adjLst/>
            </dgm:shape>
            <dgm:presOf/>
            <dgm:choose name="Name11">
              <dgm:if name="Name12" func="var" arg="dir" op="equ" val="norm">
                <dgm:constrLst>
                  <dgm:constr type="l" for="ch" forName="child"/>
                  <dgm:constr type="t" for="ch" forName="child"/>
                  <dgm:constr type="w" for="ch" forName="child" refType="w"/>
                  <dgm:constr type="h" for="ch" forName="child" refType="h"/>
                  <dgm:constr type="l" for="ch" forName="childTx" refType="w" fact="0.16"/>
                  <dgm:constr type="r" for="ch" forName="childTx" refType="w"/>
                  <dgm:constr type="h" for="ch" forName="childTx" refFor="ch" refForName="child" op="equ"/>
                </dgm:constrLst>
              </dgm:if>
              <dgm:else name="Name13">
                <dgm:constrLst>
                  <dgm:constr type="l" for="ch" forName="child"/>
                  <dgm:constr type="t" for="ch" forName="child"/>
                  <dgm:constr type="w" for="ch" forName="child" refType="w"/>
                  <dgm:constr type="h" for="ch" forName="child" refType="h"/>
                  <dgm:constr type="l" for="ch" forName="childTx"/>
                  <dgm:constr type="r" for="ch" forName="childTx" refType="w" fact="0.825"/>
                  <dgm:constr type="h" for="ch" forName="childTx" refFor="ch" refForName="child" op="equ"/>
                </dgm:constrLst>
              </dgm:else>
            </dgm:choose>
            <dgm:ruleLst/>
            <dgm:layoutNode name="child" styleLbl="bgAccFollowNode1">
              <dgm:alg type="sp"/>
              <dgm:shape xmlns:r="http://schemas.openxmlformats.org/officeDocument/2006/relationships" type="rect" r:blip="">
                <dgm:adjLst/>
              </dgm:shape>
              <dgm:presOf axis="desOrSelf" ptType="node"/>
              <dgm:constrLst/>
              <dgm:ruleLst/>
            </dgm:layoutNode>
            <dgm:layoutNode name="childTx" styleLbl="bgAccFollowNode1">
              <dgm:varLst>
                <dgm:bulletEnabled val="1"/>
              </dgm:varLst>
              <dgm:alg type="tx">
                <dgm:param type="parTxLTRAlign" val="l"/>
              </dgm:alg>
              <dgm:shape xmlns:r="http://schemas.openxmlformats.org/officeDocument/2006/relationships" type="rect" r:blip="" hideGeom="1">
                <dgm:adjLst/>
              </dgm:shape>
              <dgm:presOf axis="desOrSelf" ptType="node"/>
              <dgm:choose name="Name14">
                <dgm:if name="Name15" func="var" arg="dir" op="equ" val="norm">
                  <dgm:constrLst>
                    <dgm:constr type="primFontSz" val="65"/>
                    <dgm:constr type="lMarg"/>
                  </dgm:constrLst>
                </dgm:if>
                <dgm:else name="Name16">
                  <dgm:constrLst>
                    <dgm:constr type="primFontSz" val="65"/>
                    <dgm:constr type="rMarg"/>
                  </dgm:constrLst>
                </dgm:else>
              </dgm:choose>
              <dgm:ruleLst>
                <dgm:rule type="primFontSz" val="5" fact="NaN" max="NaN"/>
              </dgm:ruleLst>
            </dgm:layoutNode>
          </dgm:layoutNode>
        </dgm:forEach>
      </dgm:layoutNode>
      <dgm:layoutNode name="neg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ircle" styleLbl="node1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lMarg"/>
          <dgm:constr type="rMarg"/>
          <dgm:constr type="tMarg"/>
          <dgm:constr type="bMarg"/>
          <dgm:constr type="h" refType="w"/>
        </dgm:constrLst>
        <dgm:ruleLst>
          <dgm:rule type="primFontSz" val="5" fact="NaN" max="NaN"/>
        </dgm:ruleLst>
      </dgm:layoutNode>
      <dgm:forEach name="Name17" axis="followSib" ptType="sibTrans" cnt="1">
        <dgm:layoutNode name="trans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#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274C3A2F-84CF-41A4-A882-29B94EC65656}" type="datetimeFigureOut">
              <a:rPr lang="es-CO"/>
              <a:pPr>
                <a:defRPr/>
              </a:pPr>
              <a:t>17/12/2014</a:t>
            </a:fld>
            <a:endParaRPr lang="es-CO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D917C769-987F-44FC-8799-969FD1BF8408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0044926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486E04C2-2937-4629-B9AF-2D8FE3CFA728}" type="datetimeFigureOut">
              <a:rPr lang="es-CO"/>
              <a:pPr>
                <a:defRPr/>
              </a:pPr>
              <a:t>17/12/2014</a:t>
            </a:fld>
            <a:endParaRPr lang="es-CO" dirty="0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s-CO" noProof="0" dirty="0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CO" noProof="0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3C2F1E3-85BB-4AD3-AAD2-C10CC4743F15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06890194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9 Imagen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661025"/>
            <a:ext cx="9906000" cy="1196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CO"/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F80355-26A5-4923-A7FF-4852F58F83CA}" type="datetimeFigureOut">
              <a:rPr lang="es-CO"/>
              <a:pPr>
                <a:defRPr/>
              </a:pPr>
              <a:t>17/12/2014</a:t>
            </a:fld>
            <a:endParaRPr lang="es-CO" dirty="0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ADCF29-C0DE-49D9-8F45-889FAB45E525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6939296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986677-3D09-45AE-A83A-B0678347935F}" type="datetimeFigureOut">
              <a:rPr lang="es-CO"/>
              <a:pPr>
                <a:defRPr/>
              </a:pPr>
              <a:t>17/12/2014</a:t>
            </a:fld>
            <a:endParaRPr lang="es-CO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313907-615D-43EC-B056-925FD45450C5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6344943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7780337" y="274639"/>
            <a:ext cx="2414588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536575" y="274639"/>
            <a:ext cx="7078663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09FEC7-C8AB-4F3D-91C6-25182E146705}" type="datetimeFigureOut">
              <a:rPr lang="es-CO"/>
              <a:pPr>
                <a:defRPr/>
              </a:pPr>
              <a:t>17/12/2014</a:t>
            </a:fld>
            <a:endParaRPr lang="es-CO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77C104-C271-4922-9FC2-3341AD69F88B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2930150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5"/>
          <p:cNvSpPr>
            <a:spLocks noChangeArrowheads="1"/>
          </p:cNvSpPr>
          <p:nvPr userDrawn="1"/>
        </p:nvSpPr>
        <p:spPr bwMode="auto">
          <a:xfrm>
            <a:off x="3524655" y="982469"/>
            <a:ext cx="272832" cy="64633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>
              <a:defRPr/>
            </a:pPr>
            <a:r>
              <a:rPr lang="en-US" sz="3600" b="1" spc="50" dirty="0">
                <a:ln w="11430"/>
                <a:solidFill>
                  <a:srgbClr val="E36B1A"/>
                </a:solidFill>
                <a:effectLst>
                  <a:reflection blurRad="6350" stA="55000" endA="300" endPos="45500" dir="5400000" sy="-100000" algn="bl" rotWithShape="0"/>
                </a:effectLst>
                <a:latin typeface="Impact"/>
                <a:ea typeface="Helvetica Neue Bold Condensed" charset="0"/>
                <a:cs typeface="Impact"/>
              </a:rPr>
              <a:t> </a:t>
            </a:r>
          </a:p>
        </p:txBody>
      </p:sp>
      <p:sp>
        <p:nvSpPr>
          <p:cNvPr id="5" name="Rectángulo 5"/>
          <p:cNvSpPr>
            <a:spLocks noChangeArrowheads="1"/>
          </p:cNvSpPr>
          <p:nvPr userDrawn="1"/>
        </p:nvSpPr>
        <p:spPr bwMode="auto">
          <a:xfrm>
            <a:off x="2072680" y="404784"/>
            <a:ext cx="282450" cy="70788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>
              <a:defRPr/>
            </a:pPr>
            <a:r>
              <a:rPr lang="en-US" sz="4000" b="1" spc="50" dirty="0">
                <a:ln w="11430"/>
                <a:solidFill>
                  <a:srgbClr val="1F497D">
                    <a:lumMod val="75000"/>
                  </a:srgbClr>
                </a:solidFill>
                <a:latin typeface="Impact"/>
                <a:ea typeface="Helvetica Neue Bold Condensed" charset="0"/>
                <a:cs typeface="Impact"/>
              </a:rPr>
              <a:t> 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CO" dirty="0"/>
          </a:p>
        </p:txBody>
      </p:sp>
      <p:sp>
        <p:nvSpPr>
          <p:cNvPr id="6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5D2270-E326-45CC-A74C-B7529D1D1E01}" type="datetimeFigureOut">
              <a:rPr lang="es-CO"/>
              <a:pPr>
                <a:defRPr/>
              </a:pPr>
              <a:t>17/12/2014</a:t>
            </a:fld>
            <a:endParaRPr lang="es-CO" dirty="0"/>
          </a:p>
        </p:txBody>
      </p:sp>
      <p:sp>
        <p:nvSpPr>
          <p:cNvPr id="7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8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9B55C2-788E-4091-A131-A16F25D81A9B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7916409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24DC81-7317-452B-9405-5541A6BB74A7}" type="datetimeFigureOut">
              <a:rPr lang="es-CO"/>
              <a:pPr>
                <a:defRPr/>
              </a:pPr>
              <a:t>17/12/2014</a:t>
            </a:fld>
            <a:endParaRPr lang="es-CO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C96561-1D88-4C34-98FD-B7048EFBB73C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5123177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536575" y="1600201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5448300" y="1600201"/>
            <a:ext cx="474662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9A81BC-47E4-4861-BE15-594C7865B601}" type="datetimeFigureOut">
              <a:rPr lang="es-CO"/>
              <a:pPr>
                <a:defRPr/>
              </a:pPr>
              <a:t>17/12/2014</a:t>
            </a:fld>
            <a:endParaRPr lang="es-CO" dirty="0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F3173D-9669-4A0E-85E4-36AE27FF230A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0459610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7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09A72E-ABC7-4FCF-AF24-9C07DAE45820}" type="datetimeFigureOut">
              <a:rPr lang="es-CO"/>
              <a:pPr>
                <a:defRPr/>
              </a:pPr>
              <a:t>17/12/2014</a:t>
            </a:fld>
            <a:endParaRPr lang="es-CO" dirty="0"/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9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58906C-CF78-44A0-9320-6C77DAF4A514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287470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20CD5E-953A-4870-A99B-4DA9B7B30237}" type="datetimeFigureOut">
              <a:rPr lang="es-CO"/>
              <a:pPr>
                <a:defRPr/>
              </a:pPr>
              <a:t>17/12/2014</a:t>
            </a:fld>
            <a:endParaRPr lang="es-CO" dirty="0"/>
          </a:p>
        </p:txBody>
      </p:sp>
      <p:sp>
        <p:nvSpPr>
          <p:cNvPr id="4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5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407B63-2748-423D-83A5-BB10F6308C9E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0842722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AFB672-67BC-4FAC-8850-3219C01847CD}" type="datetimeFigureOut">
              <a:rPr lang="es-CO"/>
              <a:pPr>
                <a:defRPr/>
              </a:pPr>
              <a:t>17/12/2014</a:t>
            </a:fld>
            <a:endParaRPr lang="es-CO" dirty="0"/>
          </a:p>
        </p:txBody>
      </p:sp>
      <p:sp>
        <p:nvSpPr>
          <p:cNvPr id="3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01B299-7353-42A4-B5CE-E512678E874C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5948009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C8FA60-3E14-4470-B633-3EEF6DABC52F}" type="datetimeFigureOut">
              <a:rPr lang="es-CO"/>
              <a:pPr>
                <a:defRPr/>
              </a:pPr>
              <a:t>17/12/2014</a:t>
            </a:fld>
            <a:endParaRPr lang="es-CO" dirty="0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0E04B6-64A3-4D4F-901E-2433E906C437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4237887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s-ES" noProof="0" dirty="0" smtClean="0"/>
              <a:t>Haga clic en el icono para agregar una imagen</a:t>
            </a:r>
            <a:endParaRPr lang="es-CO" noProof="0" dirty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0C4B47-C5F1-441A-B1AC-72F85E5FA3A0}" type="datetimeFigureOut">
              <a:rPr lang="es-CO"/>
              <a:pPr>
                <a:defRPr/>
              </a:pPr>
              <a:t>17/12/2014</a:t>
            </a:fld>
            <a:endParaRPr lang="es-CO" dirty="0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6FB9FE-C7BF-4A07-9104-9FB5F2F8D7F1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2337130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jp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1 Marcador de título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ítulo del patrón</a:t>
            </a:r>
            <a:endParaRPr lang="es-CO" smtClean="0"/>
          </a:p>
        </p:txBody>
      </p:sp>
      <p:pic>
        <p:nvPicPr>
          <p:cNvPr id="1027" name="7 Imagen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21388"/>
            <a:ext cx="9906000" cy="83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2 Marcador de texto"/>
          <p:cNvSpPr>
            <a:spLocks noGrp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 smtClean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7033866-6AF4-4A2D-ACAA-9F63535E8C2A}" type="datetimeFigureOut">
              <a:rPr lang="es-CO"/>
              <a:pPr>
                <a:defRPr/>
              </a:pPr>
              <a:t>17/12/2014</a:t>
            </a:fld>
            <a:endParaRPr lang="es-CO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DBDFA6C-B1FB-4021-845A-52808C171FEF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  <p:pic>
        <p:nvPicPr>
          <p:cNvPr id="2" name="Imagen 1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464" y="92076"/>
            <a:ext cx="1013043" cy="742603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 userDrawn="1"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64" t="22700" r="2941" b="22701"/>
          <a:stretch/>
        </p:blipFill>
        <p:spPr>
          <a:xfrm>
            <a:off x="8255000" y="44451"/>
            <a:ext cx="1420773" cy="64807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090" r:id="rId1"/>
    <p:sldLayoutId id="2147484091" r:id="rId2"/>
    <p:sldLayoutId id="2147484080" r:id="rId3"/>
    <p:sldLayoutId id="2147484081" r:id="rId4"/>
    <p:sldLayoutId id="2147484082" r:id="rId5"/>
    <p:sldLayoutId id="2147484083" r:id="rId6"/>
    <p:sldLayoutId id="2147484084" r:id="rId7"/>
    <p:sldLayoutId id="2147484085" r:id="rId8"/>
    <p:sldLayoutId id="2147484086" r:id="rId9"/>
    <p:sldLayoutId id="2147484087" r:id="rId10"/>
    <p:sldLayoutId id="2147484088" r:id="rId11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tx1"/>
          </a:solidFill>
          <a:latin typeface="Impact" pitchFamily="34" charset="0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Impact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Impact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Impact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Impact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hyperlink" Target="mailto:contactenos@ani.gov.co" TargetMode="Externa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hyperlink" Target="http://www.ani.gov.co/" TargetMode="Externa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1 Título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</p:spPr>
        <p:txBody>
          <a:bodyPr/>
          <a:lstStyle/>
          <a:p>
            <a:pPr eaLnBrk="1" hangingPunct="1"/>
            <a:endParaRPr lang="es-ES" smtClean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eaLnBrk="1" hangingPunct="1">
              <a:defRPr/>
            </a:pPr>
            <a:endParaRPr lang="es-CO" dirty="0"/>
          </a:p>
        </p:txBody>
      </p:sp>
      <p:pic>
        <p:nvPicPr>
          <p:cNvPr id="4100" name="Picture 2" descr="D:\Manual de Identidad Corporativa\Manual JPG\MANUAL ANI FINAL PRIMERA PARTE-02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7475" y="-373063"/>
            <a:ext cx="10023475" cy="7231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6"/>
          <p:cNvSpPr>
            <a:spLocks noChangeArrowheads="1"/>
          </p:cNvSpPr>
          <p:nvPr/>
        </p:nvSpPr>
        <p:spPr bwMode="auto">
          <a:xfrm>
            <a:off x="1136576" y="2885653"/>
            <a:ext cx="6493242" cy="831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b" anchorCtr="0" upright="1">
            <a:no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es-CO" sz="3600" b="1" dirty="0" smtClean="0">
                <a:effectLst/>
                <a:latin typeface="Calibri"/>
                <a:ea typeface="Times New Roman"/>
                <a:cs typeface="Times New Roman"/>
              </a:rPr>
              <a:t>AVANCES </a:t>
            </a:r>
            <a:r>
              <a:rPr lang="es-CO" sz="3600" b="1" dirty="0" smtClean="0">
                <a:effectLst/>
                <a:latin typeface="Calibri"/>
                <a:ea typeface="Times New Roman"/>
                <a:cs typeface="Times New Roman"/>
              </a:rPr>
              <a:t>TEMAS ADMINISTRATIVOS</a:t>
            </a:r>
            <a:endParaRPr lang="es-CO" sz="1400" dirty="0">
              <a:effectLst/>
              <a:latin typeface="Calibri"/>
              <a:ea typeface="Times New Roman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381115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/>
        </p:nvSpPr>
        <p:spPr>
          <a:xfrm>
            <a:off x="2288704" y="-15190"/>
            <a:ext cx="4147866" cy="132343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</a:t>
            </a:r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Temas </a:t>
            </a:r>
          </a:p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dministrativos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  <p:graphicFrame>
        <p:nvGraphicFramePr>
          <p:cNvPr id="12" name="4 Diagrama"/>
          <p:cNvGraphicFramePr/>
          <p:nvPr>
            <p:extLst>
              <p:ext uri="{D42A27DB-BD31-4B8C-83A1-F6EECF244321}">
                <p14:modId xmlns:p14="http://schemas.microsoft.com/office/powerpoint/2010/main" val="1369076876"/>
              </p:ext>
            </p:extLst>
          </p:nvPr>
        </p:nvGraphicFramePr>
        <p:xfrm>
          <a:off x="685112" y="1772816"/>
          <a:ext cx="9066738" cy="30718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3" name="6 CuadroTexto"/>
          <p:cNvSpPr txBox="1">
            <a:spLocks noChangeArrowheads="1"/>
          </p:cNvSpPr>
          <p:nvPr/>
        </p:nvSpPr>
        <p:spPr bwMode="auto">
          <a:xfrm>
            <a:off x="2072680" y="2276872"/>
            <a:ext cx="884238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s-ES" altLang="es-CO" sz="1600" b="1" dirty="0">
                <a:solidFill>
                  <a:schemeClr val="bg1"/>
                </a:solidFill>
                <a:latin typeface="Futura Lt" pitchFamily="34" charset="0"/>
              </a:rPr>
              <a:t>MECI</a:t>
            </a:r>
            <a:endParaRPr lang="es-CO" altLang="es-CO" sz="1600" b="1" dirty="0">
              <a:solidFill>
                <a:schemeClr val="bg1"/>
              </a:solidFill>
              <a:latin typeface="Futura Lt" pitchFamily="34" charset="0"/>
            </a:endParaRPr>
          </a:p>
        </p:txBody>
      </p:sp>
      <p:sp>
        <p:nvSpPr>
          <p:cNvPr id="14" name="7 CuadroTexto"/>
          <p:cNvSpPr txBox="1">
            <a:spLocks noChangeArrowheads="1"/>
          </p:cNvSpPr>
          <p:nvPr/>
        </p:nvSpPr>
        <p:spPr bwMode="auto">
          <a:xfrm>
            <a:off x="2069338" y="4005064"/>
            <a:ext cx="785812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s-ES" altLang="es-CO" sz="1600" b="1" dirty="0">
                <a:solidFill>
                  <a:schemeClr val="bg1"/>
                </a:solidFill>
                <a:latin typeface="Futura Lt" pitchFamily="34" charset="0"/>
              </a:rPr>
              <a:t>SGC</a:t>
            </a:r>
            <a:endParaRPr lang="es-CO" altLang="es-CO" sz="1600" b="1" dirty="0">
              <a:solidFill>
                <a:schemeClr val="bg1"/>
              </a:solidFill>
              <a:latin typeface="Futura L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87480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1"/>
          <p:cNvSpPr txBox="1">
            <a:spLocks noChangeArrowheads="1"/>
          </p:cNvSpPr>
          <p:nvPr/>
        </p:nvSpPr>
        <p:spPr bwMode="auto">
          <a:xfrm>
            <a:off x="1476375" y="1414984"/>
            <a:ext cx="6759575" cy="1077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>
              <a:defRPr/>
            </a:pPr>
            <a:r>
              <a:rPr lang="es-ES_tradnl" sz="3200" dirty="0">
                <a:solidFill>
                  <a:srgbClr val="1F497D">
                    <a:lumMod val="50000"/>
                  </a:srgbClr>
                </a:solidFill>
                <a:latin typeface="Impact"/>
                <a:ea typeface="Helvetica Neue Bold Condensed" charset="0"/>
                <a:cs typeface="Impact"/>
                <a:sym typeface="Helvetica Neue Bold Condensed" charset="0"/>
              </a:rPr>
              <a:t>Avances Plan de Mejoramiento</a:t>
            </a:r>
          </a:p>
          <a:p>
            <a:pPr algn="r">
              <a:defRPr/>
            </a:pPr>
            <a:r>
              <a:rPr lang="es-ES_tradnl" sz="3200" dirty="0">
                <a:solidFill>
                  <a:srgbClr val="1F497D">
                    <a:lumMod val="50000"/>
                  </a:srgbClr>
                </a:solidFill>
                <a:latin typeface="Impact"/>
                <a:ea typeface="Helvetica Neue Bold Condensed" charset="0"/>
                <a:cs typeface="Impact"/>
                <a:sym typeface="Helvetica Neue Bold Condensed" charset="0"/>
              </a:rPr>
              <a:t>Contraloria General</a:t>
            </a:r>
          </a:p>
        </p:txBody>
      </p:sp>
      <p:graphicFrame>
        <p:nvGraphicFramePr>
          <p:cNvPr id="3" name="5 Diagrama"/>
          <p:cNvGraphicFramePr/>
          <p:nvPr>
            <p:extLst>
              <p:ext uri="{D42A27DB-BD31-4B8C-83A1-F6EECF244321}">
                <p14:modId xmlns:p14="http://schemas.microsoft.com/office/powerpoint/2010/main" val="3448926155"/>
              </p:ext>
            </p:extLst>
          </p:nvPr>
        </p:nvGraphicFramePr>
        <p:xfrm>
          <a:off x="571472" y="2247745"/>
          <a:ext cx="6287820" cy="37530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Rectángulo 3"/>
          <p:cNvSpPr/>
          <p:nvPr/>
        </p:nvSpPr>
        <p:spPr>
          <a:xfrm>
            <a:off x="920552" y="0"/>
            <a:ext cx="6912768" cy="132343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</a:t>
            </a:r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Temas Administrativos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1668851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uadroTexto 11"/>
          <p:cNvSpPr txBox="1">
            <a:spLocks noChangeArrowheads="1"/>
          </p:cNvSpPr>
          <p:nvPr/>
        </p:nvSpPr>
        <p:spPr bwMode="auto">
          <a:xfrm>
            <a:off x="-214313" y="1487488"/>
            <a:ext cx="8321676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>
              <a:defRPr/>
            </a:pPr>
            <a:r>
              <a:rPr lang="es-ES_tradnl" sz="3200" dirty="0">
                <a:solidFill>
                  <a:srgbClr val="1F497D">
                    <a:lumMod val="50000"/>
                  </a:srgbClr>
                </a:solidFill>
                <a:latin typeface="Impact"/>
                <a:ea typeface="Helvetica Neue Bold Condensed" charset="0"/>
                <a:cs typeface="Impact"/>
                <a:sym typeface="Helvetica Neue Bold Condensed" charset="0"/>
              </a:rPr>
              <a:t>Atención Peticiones, Quejas y Reclamos</a:t>
            </a:r>
          </a:p>
        </p:txBody>
      </p:sp>
      <p:sp>
        <p:nvSpPr>
          <p:cNvPr id="12" name="AutoShape 13"/>
          <p:cNvSpPr>
            <a:spLocks noChangeArrowheads="1"/>
          </p:cNvSpPr>
          <p:nvPr>
            <p:custDataLst>
              <p:tags r:id="rId1"/>
            </p:custDataLst>
          </p:nvPr>
        </p:nvSpPr>
        <p:spPr bwMode="blackGray">
          <a:xfrm>
            <a:off x="2965450" y="2709863"/>
            <a:ext cx="209550" cy="898525"/>
          </a:xfrm>
          <a:prstGeom prst="rightArrow">
            <a:avLst>
              <a:gd name="adj1" fmla="val 55176"/>
              <a:gd name="adj2" fmla="val 100000"/>
            </a:avLst>
          </a:prstGeom>
          <a:gradFill>
            <a:gsLst>
              <a:gs pos="0">
                <a:srgbClr val="4F81BD">
                  <a:hueOff val="0"/>
                  <a:satOff val="0"/>
                  <a:lumOff val="0"/>
                  <a:alphaOff val="0"/>
                  <a:tint val="100000"/>
                  <a:shade val="100000"/>
                  <a:satMod val="130000"/>
                </a:srgbClr>
              </a:gs>
              <a:gs pos="100000">
                <a:srgbClr val="4F81BD">
                  <a:hueOff val="0"/>
                  <a:satOff val="0"/>
                  <a:lumOff val="0"/>
                  <a:alphaOff val="0"/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12700" algn="ctr">
            <a:noFill/>
            <a:miter lim="800000"/>
            <a:headEnd/>
            <a:tailEnd/>
          </a:ln>
          <a:effectLst/>
        </p:spPr>
        <p:txBody>
          <a:bodyPr rot="10800000" vert="eaVert" wrap="none" lIns="93286" tIns="46643" rIns="93286" bIns="46643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84" charset="0"/>
              <a:ea typeface="ＭＳ Ｐゴシック" pitchFamily="84" charset="-128"/>
              <a:cs typeface="ＭＳ Ｐゴシック" pitchFamily="84" charset="-128"/>
            </a:endParaRPr>
          </a:p>
        </p:txBody>
      </p:sp>
      <p:sp>
        <p:nvSpPr>
          <p:cNvPr id="13" name="Rectangle 1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457575" y="2420888"/>
            <a:ext cx="4903788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197586" lvl="1" indent="-195966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dirty="0">
                <a:solidFill>
                  <a:prstClr val="black"/>
                </a:solidFill>
                <a:ea typeface="ＭＳ Ｐゴシック" pitchFamily="34" charset="-128"/>
                <a:cs typeface="+mn-cs"/>
              </a:rPr>
              <a:t>Línea 01 8000 124626</a:t>
            </a:r>
          </a:p>
          <a:p>
            <a:pPr marL="197586" lvl="1" indent="-195966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dirty="0" smtClean="0">
                <a:solidFill>
                  <a:prstClr val="black"/>
                </a:solidFill>
                <a:ea typeface="ＭＳ Ｐゴシック" pitchFamily="34" charset="-128"/>
                <a:cs typeface="+mn-cs"/>
                <a:hlinkClick r:id="rId6"/>
              </a:rPr>
              <a:t>www.ani.gov.co</a:t>
            </a:r>
            <a:endParaRPr lang="es-CO" dirty="0" smtClean="0">
              <a:solidFill>
                <a:prstClr val="black"/>
              </a:solidFill>
              <a:ea typeface="ＭＳ Ｐゴシック" pitchFamily="34" charset="-128"/>
              <a:cs typeface="+mn-cs"/>
            </a:endParaRPr>
          </a:p>
          <a:p>
            <a:pPr marL="197586" lvl="1" indent="-195966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dirty="0" smtClean="0">
                <a:solidFill>
                  <a:prstClr val="black"/>
                </a:solidFill>
                <a:ea typeface="ＭＳ Ｐゴシック" pitchFamily="34" charset="-128"/>
                <a:cs typeface="+mn-cs"/>
                <a:hlinkClick r:id="rId7"/>
              </a:rPr>
              <a:t>contactenos@ani.gov.co</a:t>
            </a:r>
            <a:endParaRPr lang="es-CO" dirty="0" smtClean="0">
              <a:solidFill>
                <a:prstClr val="black"/>
              </a:solidFill>
              <a:ea typeface="ＭＳ Ｐゴシック" pitchFamily="34" charset="-128"/>
              <a:cs typeface="+mn-cs"/>
            </a:endParaRPr>
          </a:p>
          <a:p>
            <a:pPr marL="197586" lvl="1" indent="-195966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dirty="0" err="1" smtClean="0">
                <a:solidFill>
                  <a:prstClr val="black"/>
                </a:solidFill>
                <a:ea typeface="ＭＳ Ｐゴシック" pitchFamily="34" charset="-128"/>
                <a:cs typeface="+mn-cs"/>
              </a:rPr>
              <a:t>Flickr</a:t>
            </a:r>
            <a:r>
              <a:rPr lang="es-CO" dirty="0" smtClean="0">
                <a:solidFill>
                  <a:prstClr val="black"/>
                </a:solidFill>
                <a:ea typeface="ＭＳ Ｐゴシック" pitchFamily="34" charset="-128"/>
                <a:cs typeface="+mn-cs"/>
              </a:rPr>
              <a:t>, Facebook, Twitter</a:t>
            </a:r>
          </a:p>
          <a:p>
            <a:pPr marL="197586" lvl="1" indent="-195966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dirty="0" smtClean="0">
                <a:solidFill>
                  <a:prstClr val="black"/>
                </a:solidFill>
                <a:ea typeface="ＭＳ Ｐゴシック" pitchFamily="34" charset="-128"/>
                <a:cs typeface="+mn-cs"/>
              </a:rPr>
              <a:t>Calle 26 N°59-51 piso 2</a:t>
            </a:r>
            <a:endParaRPr lang="es-CO" dirty="0">
              <a:solidFill>
                <a:prstClr val="black"/>
              </a:solidFill>
              <a:ea typeface="ＭＳ Ｐゴシック" pitchFamily="34" charset="-128"/>
              <a:cs typeface="+mn-cs"/>
            </a:endParaRPr>
          </a:p>
        </p:txBody>
      </p:sp>
      <p:sp>
        <p:nvSpPr>
          <p:cNvPr id="14" name="AutoShape 13"/>
          <p:cNvSpPr>
            <a:spLocks noChangeArrowheads="1"/>
          </p:cNvSpPr>
          <p:nvPr>
            <p:custDataLst>
              <p:tags r:id="rId3"/>
            </p:custDataLst>
          </p:nvPr>
        </p:nvSpPr>
        <p:spPr bwMode="blackGray">
          <a:xfrm>
            <a:off x="2965450" y="4281488"/>
            <a:ext cx="209550" cy="898525"/>
          </a:xfrm>
          <a:prstGeom prst="rightArrow">
            <a:avLst>
              <a:gd name="adj1" fmla="val 55176"/>
              <a:gd name="adj2" fmla="val 100000"/>
            </a:avLst>
          </a:prstGeom>
          <a:gradFill>
            <a:gsLst>
              <a:gs pos="0">
                <a:srgbClr val="4F81BD">
                  <a:hueOff val="0"/>
                  <a:satOff val="0"/>
                  <a:lumOff val="0"/>
                  <a:alphaOff val="0"/>
                  <a:tint val="100000"/>
                  <a:shade val="100000"/>
                  <a:satMod val="130000"/>
                </a:srgbClr>
              </a:gs>
              <a:gs pos="100000">
                <a:srgbClr val="4F81BD">
                  <a:hueOff val="0"/>
                  <a:satOff val="0"/>
                  <a:lumOff val="0"/>
                  <a:alphaOff val="0"/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12700" algn="ctr">
            <a:noFill/>
            <a:miter lim="800000"/>
            <a:headEnd/>
            <a:tailEnd/>
          </a:ln>
          <a:effectLst/>
        </p:spPr>
        <p:txBody>
          <a:bodyPr rot="10800000" vert="eaVert" wrap="none" lIns="93286" tIns="46643" rIns="93286" bIns="46643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84" charset="0"/>
              <a:ea typeface="ＭＳ Ｐゴシック" pitchFamily="84" charset="-128"/>
              <a:cs typeface="ＭＳ Ｐゴシック" pitchFamily="84" charset="-128"/>
            </a:endParaRPr>
          </a:p>
        </p:txBody>
      </p:sp>
      <p:sp>
        <p:nvSpPr>
          <p:cNvPr id="15" name="Rectangle 1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457575" y="4235450"/>
            <a:ext cx="4884738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197586" lvl="1" indent="-195966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dirty="0" smtClean="0">
                <a:solidFill>
                  <a:prstClr val="black"/>
                </a:solidFill>
                <a:ea typeface="ＭＳ Ｐゴシック" pitchFamily="34" charset="-128"/>
                <a:cs typeface="+mn-cs"/>
              </a:rPr>
              <a:t>32% </a:t>
            </a:r>
            <a:r>
              <a:rPr lang="es-CO" dirty="0">
                <a:solidFill>
                  <a:prstClr val="black"/>
                </a:solidFill>
                <a:ea typeface="ＭＳ Ｐゴシック" pitchFamily="34" charset="-128"/>
                <a:cs typeface="+mn-cs"/>
              </a:rPr>
              <a:t>son derechos de petición</a:t>
            </a:r>
          </a:p>
          <a:p>
            <a:pPr marL="197586" lvl="1" indent="-195966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dirty="0">
                <a:solidFill>
                  <a:prstClr val="black"/>
                </a:solidFill>
                <a:ea typeface="ＭＳ Ｐゴシック" pitchFamily="34" charset="-128"/>
                <a:cs typeface="+mn-cs"/>
              </a:rPr>
              <a:t>Énfasis en temas </a:t>
            </a:r>
            <a:r>
              <a:rPr lang="es-CO" dirty="0" smtClean="0">
                <a:solidFill>
                  <a:prstClr val="black"/>
                </a:solidFill>
                <a:ea typeface="ＭＳ Ｐゴシック" pitchFamily="34" charset="-128"/>
                <a:cs typeface="+mn-cs"/>
              </a:rPr>
              <a:t>de trazados de nuevos proyectos y socialización de los mismos</a:t>
            </a:r>
            <a:endParaRPr lang="es-CO" dirty="0">
              <a:solidFill>
                <a:prstClr val="black"/>
              </a:solidFill>
              <a:ea typeface="ＭＳ Ｐゴシック" pitchFamily="34" charset="-128"/>
              <a:cs typeface="+mn-cs"/>
            </a:endParaRPr>
          </a:p>
          <a:p>
            <a:pPr marL="197586" lvl="1" indent="-195966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dirty="0">
                <a:solidFill>
                  <a:prstClr val="black"/>
                </a:solidFill>
                <a:ea typeface="ＭＳ Ｐゴシック" pitchFamily="34" charset="-128"/>
                <a:cs typeface="+mn-cs"/>
              </a:rPr>
              <a:t>El </a:t>
            </a:r>
            <a:r>
              <a:rPr lang="es-CO" dirty="0" smtClean="0">
                <a:solidFill>
                  <a:prstClr val="black"/>
                </a:solidFill>
                <a:ea typeface="ＭＳ Ｐゴシック" pitchFamily="34" charset="-128"/>
                <a:cs typeface="+mn-cs"/>
              </a:rPr>
              <a:t>68% </a:t>
            </a:r>
            <a:r>
              <a:rPr lang="es-CO" dirty="0">
                <a:solidFill>
                  <a:prstClr val="black"/>
                </a:solidFill>
                <a:ea typeface="ＭＳ Ｐゴシック" pitchFamily="34" charset="-128"/>
                <a:cs typeface="+mn-cs"/>
              </a:rPr>
              <a:t>se han atendido oportunamente</a:t>
            </a:r>
          </a:p>
          <a:p>
            <a:pPr marL="197586" lvl="1" indent="-195966" defTabSz="913429">
              <a:buClr>
                <a:srgbClr val="4F81BD">
                  <a:lumMod val="75000"/>
                </a:srgbClr>
              </a:buClr>
              <a:buSzPct val="125000"/>
              <a:defRPr/>
            </a:pPr>
            <a:endParaRPr lang="es-CO" dirty="0">
              <a:solidFill>
                <a:prstClr val="black"/>
              </a:solidFill>
              <a:ea typeface="ＭＳ Ｐゴシック" pitchFamily="34" charset="-128"/>
              <a:cs typeface="+mn-cs"/>
            </a:endParaRPr>
          </a:p>
        </p:txBody>
      </p:sp>
      <p:sp>
        <p:nvSpPr>
          <p:cNvPr id="16" name="9 Rectángulo"/>
          <p:cNvSpPr/>
          <p:nvPr/>
        </p:nvSpPr>
        <p:spPr bwMode="auto">
          <a:xfrm>
            <a:off x="721759" y="2667019"/>
            <a:ext cx="1885727" cy="1000447"/>
          </a:xfrm>
          <a:prstGeom prst="rect">
            <a:avLst/>
          </a:prstGeom>
          <a:gradFill>
            <a:gsLst>
              <a:gs pos="0">
                <a:srgbClr val="4F81BD">
                  <a:hueOff val="0"/>
                  <a:satOff val="0"/>
                  <a:lumOff val="0"/>
                  <a:alphaOff val="0"/>
                  <a:tint val="100000"/>
                  <a:shade val="100000"/>
                  <a:satMod val="130000"/>
                </a:srgbClr>
              </a:gs>
              <a:gs pos="100000">
                <a:srgbClr val="4F81BD">
                  <a:hueOff val="0"/>
                  <a:satOff val="0"/>
                  <a:lumOff val="0"/>
                  <a:alphaOff val="0"/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</p:spPr>
        <p:txBody>
          <a:bodyPr lIns="45720" tIns="22860" rIns="45720" bIns="22860" spcCol="1270" anchor="ctr"/>
          <a:lstStyle/>
          <a:p>
            <a:pPr marL="0" marR="0" lvl="0" indent="0" algn="ctr" defTabSz="533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 Lt"/>
                <a:ea typeface="+mn-ea"/>
                <a:cs typeface="+mn-cs"/>
              </a:rPr>
              <a:t>Canales</a:t>
            </a:r>
            <a:endParaRPr kumimoji="0" lang="es-CO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utura Lt"/>
              <a:ea typeface="+mn-ea"/>
              <a:cs typeface="+mn-cs"/>
            </a:endParaRPr>
          </a:p>
        </p:txBody>
      </p:sp>
      <p:sp>
        <p:nvSpPr>
          <p:cNvPr id="17" name="10 Rectángulo"/>
          <p:cNvSpPr/>
          <p:nvPr/>
        </p:nvSpPr>
        <p:spPr bwMode="auto">
          <a:xfrm>
            <a:off x="721759" y="4186852"/>
            <a:ext cx="1885727" cy="1000447"/>
          </a:xfrm>
          <a:prstGeom prst="rect">
            <a:avLst/>
          </a:prstGeom>
          <a:gradFill>
            <a:gsLst>
              <a:gs pos="0">
                <a:srgbClr val="4F81BD">
                  <a:hueOff val="0"/>
                  <a:satOff val="0"/>
                  <a:lumOff val="0"/>
                  <a:alphaOff val="0"/>
                  <a:tint val="100000"/>
                  <a:shade val="100000"/>
                  <a:satMod val="130000"/>
                </a:srgbClr>
              </a:gs>
              <a:gs pos="100000">
                <a:srgbClr val="4F81BD">
                  <a:hueOff val="0"/>
                  <a:satOff val="0"/>
                  <a:lumOff val="0"/>
                  <a:alphaOff val="0"/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</p:spPr>
        <p:txBody>
          <a:bodyPr lIns="45720" tIns="22860" rIns="45720" bIns="22860" spcCol="1270" anchor="ctr"/>
          <a:lstStyle/>
          <a:p>
            <a:pPr marL="0" marR="0" lvl="0" indent="0" algn="ctr" defTabSz="533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 Lt"/>
                <a:ea typeface="+mn-ea"/>
                <a:cs typeface="+mn-cs"/>
              </a:rPr>
              <a:t>Evaluación</a:t>
            </a:r>
          </a:p>
        </p:txBody>
      </p:sp>
      <p:sp>
        <p:nvSpPr>
          <p:cNvPr id="18" name="Rectángulo 17"/>
          <p:cNvSpPr/>
          <p:nvPr/>
        </p:nvSpPr>
        <p:spPr>
          <a:xfrm>
            <a:off x="920552" y="0"/>
            <a:ext cx="6912768" cy="132343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</a:t>
            </a:r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Temas Administrativos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1214458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adroTexto 11"/>
          <p:cNvSpPr txBox="1">
            <a:spLocks noChangeArrowheads="1"/>
          </p:cNvSpPr>
          <p:nvPr/>
        </p:nvSpPr>
        <p:spPr bwMode="auto">
          <a:xfrm>
            <a:off x="106363" y="1784871"/>
            <a:ext cx="8358187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>
              <a:defRPr/>
            </a:pPr>
            <a:r>
              <a:rPr lang="es-ES_tradnl" sz="4000" dirty="0">
                <a:solidFill>
                  <a:srgbClr val="1F497D">
                    <a:lumMod val="50000"/>
                  </a:srgbClr>
                </a:solidFill>
                <a:latin typeface="Impact"/>
                <a:ea typeface="Helvetica Neue Bold Condensed" charset="0"/>
                <a:cs typeface="Impact"/>
                <a:sym typeface="Helvetica Neue Bold Condensed" charset="0"/>
              </a:rPr>
              <a:t>Gestión del Recurso Humano</a:t>
            </a:r>
          </a:p>
        </p:txBody>
      </p:sp>
      <p:sp>
        <p:nvSpPr>
          <p:cNvPr id="15" name="5 Rectángulo"/>
          <p:cNvSpPr/>
          <p:nvPr/>
        </p:nvSpPr>
        <p:spPr bwMode="auto">
          <a:xfrm>
            <a:off x="1259632" y="2779166"/>
            <a:ext cx="1296144" cy="1289050"/>
          </a:xfrm>
          <a:prstGeom prst="rect">
            <a:avLst/>
          </a:prstGeom>
          <a:gradFill>
            <a:gsLst>
              <a:gs pos="0">
                <a:srgbClr val="4F81BD">
                  <a:hueOff val="0"/>
                  <a:satOff val="0"/>
                  <a:lumOff val="0"/>
                  <a:alphaOff val="0"/>
                  <a:tint val="100000"/>
                  <a:shade val="100000"/>
                  <a:satMod val="130000"/>
                </a:srgbClr>
              </a:gs>
              <a:gs pos="100000">
                <a:srgbClr val="4F81BD">
                  <a:hueOff val="0"/>
                  <a:satOff val="0"/>
                  <a:lumOff val="0"/>
                  <a:alphaOff val="0"/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</p:spPr>
        <p:txBody>
          <a:bodyPr lIns="45720" tIns="22860" rIns="45720" bIns="22860" spcCol="1270" anchor="ctr"/>
          <a:lstStyle/>
          <a:p>
            <a:pPr marL="0" marR="0" lvl="0" indent="0" algn="ctr" defTabSz="533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 Lt"/>
                <a:ea typeface="+mn-ea"/>
                <a:cs typeface="+mn-cs"/>
              </a:rPr>
              <a:t>Planta de Personal</a:t>
            </a:r>
          </a:p>
        </p:txBody>
      </p:sp>
      <p:sp>
        <p:nvSpPr>
          <p:cNvPr id="16" name="AutoShape 13"/>
          <p:cNvSpPr>
            <a:spLocks noChangeArrowheads="1"/>
          </p:cNvSpPr>
          <p:nvPr>
            <p:custDataLst>
              <p:tags r:id="rId1"/>
            </p:custDataLst>
          </p:nvPr>
        </p:nvSpPr>
        <p:spPr bwMode="blackGray">
          <a:xfrm>
            <a:off x="3038475" y="2961503"/>
            <a:ext cx="209550" cy="898525"/>
          </a:xfrm>
          <a:prstGeom prst="rightArrow">
            <a:avLst>
              <a:gd name="adj1" fmla="val 55176"/>
              <a:gd name="adj2" fmla="val 100000"/>
            </a:avLst>
          </a:prstGeom>
          <a:gradFill>
            <a:gsLst>
              <a:gs pos="0">
                <a:srgbClr val="4F81BD">
                  <a:hueOff val="0"/>
                  <a:satOff val="0"/>
                  <a:lumOff val="0"/>
                  <a:alphaOff val="0"/>
                  <a:tint val="100000"/>
                  <a:shade val="100000"/>
                  <a:satMod val="130000"/>
                </a:srgbClr>
              </a:gs>
              <a:gs pos="100000">
                <a:srgbClr val="4F81BD">
                  <a:hueOff val="0"/>
                  <a:satOff val="0"/>
                  <a:lumOff val="0"/>
                  <a:alphaOff val="0"/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12700" algn="ctr">
            <a:noFill/>
            <a:miter lim="800000"/>
            <a:headEnd/>
            <a:tailEnd/>
          </a:ln>
          <a:effectLst/>
        </p:spPr>
        <p:txBody>
          <a:bodyPr rot="10800000" vert="eaVert" wrap="none" lIns="93286" tIns="46643" rIns="93286" bIns="46643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84" charset="0"/>
              <a:ea typeface="ＭＳ Ｐゴシック" pitchFamily="84" charset="-128"/>
              <a:cs typeface="ＭＳ Ｐゴシック" pitchFamily="84" charset="-128"/>
            </a:endParaRPr>
          </a:p>
        </p:txBody>
      </p:sp>
      <p:sp>
        <p:nvSpPr>
          <p:cNvPr id="17" name="Rectangle 1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702050" y="2869428"/>
            <a:ext cx="4591050" cy="1108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197586" lvl="1" indent="-195966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dirty="0">
                <a:solidFill>
                  <a:prstClr val="black"/>
                </a:solidFill>
                <a:latin typeface="Futura Lt"/>
                <a:ea typeface="ＭＳ Ｐゴシック" pitchFamily="34" charset="-128"/>
                <a:cs typeface="+mn-cs"/>
              </a:rPr>
              <a:t>Agencia mediante Decreto 4165/11 y planta creada mediante Decreto 0665/12</a:t>
            </a:r>
          </a:p>
          <a:p>
            <a:pPr marL="197586" lvl="1" indent="-195966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dirty="0" smtClean="0">
                <a:solidFill>
                  <a:prstClr val="black"/>
                </a:solidFill>
                <a:latin typeface="Futura Lt"/>
                <a:ea typeface="ＭＳ Ｐゴシック" pitchFamily="34" charset="-128"/>
                <a:cs typeface="+mn-cs"/>
              </a:rPr>
              <a:t>246 </a:t>
            </a:r>
            <a:r>
              <a:rPr lang="es-CO" dirty="0">
                <a:solidFill>
                  <a:prstClr val="black"/>
                </a:solidFill>
                <a:latin typeface="Futura Lt"/>
                <a:ea typeface="ＭＳ Ｐゴシック" pitchFamily="34" charset="-128"/>
                <a:cs typeface="+mn-cs"/>
              </a:rPr>
              <a:t>cargos en Planta</a:t>
            </a:r>
          </a:p>
          <a:p>
            <a:pPr marL="197586" lvl="1" indent="-195966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dirty="0" smtClean="0">
                <a:latin typeface="Futura Lt"/>
                <a:ea typeface="ＭＳ Ｐゴシック" pitchFamily="34" charset="-128"/>
                <a:cs typeface="+mn-cs"/>
              </a:rPr>
              <a:t>236</a:t>
            </a:r>
            <a:r>
              <a:rPr lang="es-CO" dirty="0" smtClean="0">
                <a:solidFill>
                  <a:prstClr val="black"/>
                </a:solidFill>
                <a:latin typeface="Futura Lt"/>
                <a:ea typeface="ＭＳ Ｐゴシック" pitchFamily="34" charset="-128"/>
                <a:cs typeface="+mn-cs"/>
              </a:rPr>
              <a:t> cargos </a:t>
            </a:r>
            <a:r>
              <a:rPr lang="es-CO" dirty="0">
                <a:solidFill>
                  <a:prstClr val="black"/>
                </a:solidFill>
                <a:latin typeface="Futura Lt"/>
                <a:ea typeface="ＭＳ Ｐゴシック" pitchFamily="34" charset="-128"/>
                <a:cs typeface="+mn-cs"/>
              </a:rPr>
              <a:t>provistos </a:t>
            </a:r>
            <a:r>
              <a:rPr lang="es-CO" dirty="0" smtClean="0">
                <a:solidFill>
                  <a:prstClr val="black"/>
                </a:solidFill>
                <a:latin typeface="Futura Lt"/>
                <a:ea typeface="ＭＳ Ｐゴシック" pitchFamily="34" charset="-128"/>
                <a:cs typeface="+mn-cs"/>
              </a:rPr>
              <a:t>a sept/14</a:t>
            </a:r>
            <a:endParaRPr lang="es-CO" dirty="0">
              <a:solidFill>
                <a:prstClr val="black"/>
              </a:solidFill>
              <a:latin typeface="Futura Lt"/>
              <a:ea typeface="ＭＳ Ｐゴシック" pitchFamily="34" charset="-128"/>
              <a:cs typeface="+mn-cs"/>
            </a:endParaRPr>
          </a:p>
        </p:txBody>
      </p:sp>
      <p:sp>
        <p:nvSpPr>
          <p:cNvPr id="18" name="AutoShape 13"/>
          <p:cNvSpPr>
            <a:spLocks noChangeArrowheads="1"/>
          </p:cNvSpPr>
          <p:nvPr>
            <p:custDataLst>
              <p:tags r:id="rId3"/>
            </p:custDataLst>
          </p:nvPr>
        </p:nvSpPr>
        <p:spPr bwMode="blackGray">
          <a:xfrm>
            <a:off x="3000375" y="4652191"/>
            <a:ext cx="209550" cy="898525"/>
          </a:xfrm>
          <a:prstGeom prst="rightArrow">
            <a:avLst>
              <a:gd name="adj1" fmla="val 55176"/>
              <a:gd name="adj2" fmla="val 100000"/>
            </a:avLst>
          </a:prstGeom>
          <a:gradFill>
            <a:gsLst>
              <a:gs pos="0">
                <a:srgbClr val="4F81BD">
                  <a:hueOff val="0"/>
                  <a:satOff val="0"/>
                  <a:lumOff val="0"/>
                  <a:alphaOff val="0"/>
                  <a:tint val="100000"/>
                  <a:shade val="100000"/>
                  <a:satMod val="130000"/>
                </a:srgbClr>
              </a:gs>
              <a:gs pos="100000">
                <a:srgbClr val="4F81BD">
                  <a:hueOff val="0"/>
                  <a:satOff val="0"/>
                  <a:lumOff val="0"/>
                  <a:alphaOff val="0"/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12700" algn="ctr">
            <a:noFill/>
            <a:miter lim="800000"/>
            <a:headEnd/>
            <a:tailEnd/>
          </a:ln>
          <a:effectLst/>
        </p:spPr>
        <p:txBody>
          <a:bodyPr rot="10800000" vert="eaVert" wrap="none" lIns="93286" tIns="46643" rIns="93286" bIns="46643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84" charset="0"/>
              <a:ea typeface="ＭＳ Ｐゴシック" pitchFamily="84" charset="-128"/>
              <a:cs typeface="ＭＳ Ｐゴシック" pitchFamily="84" charset="-128"/>
            </a:endParaRPr>
          </a:p>
        </p:txBody>
      </p:sp>
      <p:sp>
        <p:nvSpPr>
          <p:cNvPr id="19" name="Rectangle 1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767138" y="4845866"/>
            <a:ext cx="4591050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197586" lvl="1" indent="-195966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dirty="0" smtClean="0">
                <a:latin typeface="Futura Lt"/>
                <a:ea typeface="ＭＳ Ｐゴシック" pitchFamily="34" charset="-128"/>
                <a:cs typeface="+mn-cs"/>
              </a:rPr>
              <a:t>170</a:t>
            </a:r>
            <a:r>
              <a:rPr lang="es-CO" dirty="0" smtClean="0">
                <a:solidFill>
                  <a:prstClr val="black"/>
                </a:solidFill>
                <a:latin typeface="Futura Lt"/>
                <a:ea typeface="ＭＳ Ｐゴシック" pitchFamily="34" charset="-128"/>
                <a:cs typeface="+mn-cs"/>
              </a:rPr>
              <a:t> </a:t>
            </a:r>
            <a:r>
              <a:rPr lang="es-CO" dirty="0">
                <a:solidFill>
                  <a:prstClr val="black"/>
                </a:solidFill>
                <a:latin typeface="Futura Lt"/>
                <a:ea typeface="ＭＳ Ｐゴシック" pitchFamily="34" charset="-128"/>
                <a:cs typeface="+mn-cs"/>
              </a:rPr>
              <a:t>contratistas en la entidad</a:t>
            </a:r>
          </a:p>
          <a:p>
            <a:pPr marL="197586" lvl="1" indent="-195966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dirty="0">
                <a:solidFill>
                  <a:prstClr val="black"/>
                </a:solidFill>
                <a:latin typeface="Futura Lt"/>
                <a:ea typeface="ＭＳ Ｐゴシック" pitchFamily="34" charset="-128"/>
                <a:cs typeface="+mn-cs"/>
              </a:rPr>
              <a:t>Prestan apoyo en actividades misionales</a:t>
            </a:r>
          </a:p>
        </p:txBody>
      </p:sp>
      <p:sp>
        <p:nvSpPr>
          <p:cNvPr id="20" name="10 Rectángulo"/>
          <p:cNvSpPr/>
          <p:nvPr/>
        </p:nvSpPr>
        <p:spPr bwMode="auto">
          <a:xfrm>
            <a:off x="1259632" y="4507358"/>
            <a:ext cx="1296144" cy="1153890"/>
          </a:xfrm>
          <a:prstGeom prst="rect">
            <a:avLst/>
          </a:prstGeom>
          <a:gradFill>
            <a:gsLst>
              <a:gs pos="0">
                <a:srgbClr val="4F81BD">
                  <a:hueOff val="0"/>
                  <a:satOff val="0"/>
                  <a:lumOff val="0"/>
                  <a:alphaOff val="0"/>
                  <a:tint val="100000"/>
                  <a:shade val="100000"/>
                  <a:satMod val="130000"/>
                </a:srgbClr>
              </a:gs>
              <a:gs pos="100000">
                <a:srgbClr val="4F81BD">
                  <a:hueOff val="0"/>
                  <a:satOff val="0"/>
                  <a:lumOff val="0"/>
                  <a:alphaOff val="0"/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</p:spPr>
        <p:txBody>
          <a:bodyPr lIns="45720" tIns="22860" rIns="45720" bIns="22860" spcCol="1270" anchor="ctr"/>
          <a:lstStyle/>
          <a:p>
            <a:pPr marL="0" marR="0" lvl="0" indent="0" algn="ctr" defTabSz="533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 Lt"/>
                <a:ea typeface="+mn-ea"/>
                <a:cs typeface="+mn-cs"/>
              </a:rPr>
              <a:t>Contratos de Prestación de Servicios</a:t>
            </a:r>
          </a:p>
        </p:txBody>
      </p:sp>
      <p:sp>
        <p:nvSpPr>
          <p:cNvPr id="22" name="Rectángulo 21"/>
          <p:cNvSpPr/>
          <p:nvPr/>
        </p:nvSpPr>
        <p:spPr>
          <a:xfrm>
            <a:off x="920552" y="0"/>
            <a:ext cx="6912768" cy="132343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Avances </a:t>
            </a:r>
            <a:r>
              <a:rPr lang="es-ES" sz="4000" b="1" cap="none" spc="0" dirty="0" smtClean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Temas Administrativos</a:t>
            </a:r>
            <a:endParaRPr lang="es-ES" sz="4000" b="1" cap="none" spc="0" dirty="0">
              <a:ln w="12700" cmpd="sng">
                <a:solidFill>
                  <a:schemeClr val="accent4"/>
                </a:solidFill>
                <a:prstDash val="solid"/>
              </a:ln>
              <a:gradFill>
                <a:gsLst>
                  <a:gs pos="0">
                    <a:schemeClr val="accent4"/>
                  </a:gs>
                  <a:gs pos="4000">
                    <a:schemeClr val="accent4">
                      <a:lumMod val="60000"/>
                      <a:lumOff val="40000"/>
                    </a:schemeClr>
                  </a:gs>
                  <a:gs pos="87000">
                    <a:schemeClr val="accent4">
                      <a:lumMod val="20000"/>
                      <a:lumOff val="80000"/>
                    </a:schemeClr>
                  </a:gs>
                </a:gsLst>
                <a:lin ang="5400000"/>
              </a:gra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0976348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K6l97Lt0aBqNfC0v42f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.75"/>
  <p:tag name="LTOP" val=" 97.37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K6l97Lt0aBqNfC0v42f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.75"/>
  <p:tag name="LTOP" val=" 97.37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K6l97Lt0aBqNfC0v42f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.75"/>
  <p:tag name="LTOP" val=" 97.3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K6l97Lt0aBqNfC0v42f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.75"/>
  <p:tag name="LTOP" val=" 97.375"/>
</p:tagLst>
</file>

<file path=ppt/theme/theme1.xml><?xml version="1.0" encoding="utf-8"?>
<a:theme xmlns:a="http://schemas.openxmlformats.org/drawingml/2006/main" name="plantilla ANI">
  <a:themeElements>
    <a:clrScheme name="Personalizado 5">
      <a:dk1>
        <a:srgbClr val="022B44"/>
      </a:dk1>
      <a:lt1>
        <a:sysClr val="window" lastClr="FFFFFF"/>
      </a:lt1>
      <a:dk2>
        <a:srgbClr val="FFFFFF"/>
      </a:dk2>
      <a:lt2>
        <a:srgbClr val="D8D8D8"/>
      </a:lt2>
      <a:accent1>
        <a:srgbClr val="B8CCE4"/>
      </a:accent1>
      <a:accent2>
        <a:srgbClr val="EFA674"/>
      </a:accent2>
      <a:accent3>
        <a:srgbClr val="366092"/>
      </a:accent3>
      <a:accent4>
        <a:srgbClr val="DB620F"/>
      </a:accent4>
      <a:accent5>
        <a:srgbClr val="FBD5B5"/>
      </a:accent5>
      <a:accent6>
        <a:srgbClr val="6D96C7"/>
      </a:accent6>
      <a:hlink>
        <a:srgbClr val="000000"/>
      </a:hlink>
      <a:folHlink>
        <a:srgbClr val="DB620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50000"/>
          </a:schemeClr>
        </a:solidFill>
      </a:spPr>
      <a:bodyPr rtlCol="0" anchor="ctr"/>
      <a:lstStyle>
        <a:defPPr algn="ctr">
          <a:defRPr b="1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lantilla ANI</Template>
  <TotalTime>8789</TotalTime>
  <Words>193</Words>
  <Application>Microsoft Office PowerPoint</Application>
  <PresentationFormat>A4 (210 x 297 mm)</PresentationFormat>
  <Paragraphs>44</Paragraphs>
  <Slides>6</Slides>
  <Notes>0</Notes>
  <HiddenSlides>0</HiddenSlides>
  <MMClips>0</MMClips>
  <ScaleCrop>false</ScaleCrop>
  <HeadingPairs>
    <vt:vector size="6" baseType="variant">
      <vt:variant>
        <vt:lpstr>Fue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6</vt:i4>
      </vt:variant>
    </vt:vector>
  </HeadingPairs>
  <TitlesOfParts>
    <vt:vector size="14" baseType="lpstr">
      <vt:lpstr>MS PGothic</vt:lpstr>
      <vt:lpstr>Arial</vt:lpstr>
      <vt:lpstr>Calibri</vt:lpstr>
      <vt:lpstr>Futura Lt</vt:lpstr>
      <vt:lpstr>Helvetica Neue Bold Condensed</vt:lpstr>
      <vt:lpstr>Impact</vt:lpstr>
      <vt:lpstr>Times New Roman</vt:lpstr>
      <vt:lpstr>plantilla ANI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nrojas</dc:creator>
  <cp:lastModifiedBy>Ricardo Aguilera Wilches</cp:lastModifiedBy>
  <cp:revision>276</cp:revision>
  <cp:lastPrinted>2012-11-28T19:27:24Z</cp:lastPrinted>
  <dcterms:created xsi:type="dcterms:W3CDTF">2012-11-16T19:55:35Z</dcterms:created>
  <dcterms:modified xsi:type="dcterms:W3CDTF">2014-12-17T14:02:50Z</dcterms:modified>
</cp:coreProperties>
</file>